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849" r:id="rId2"/>
  </p:sldMasterIdLst>
  <p:notesMasterIdLst>
    <p:notesMasterId r:id="rId5"/>
  </p:notesMasterIdLst>
  <p:handoutMasterIdLst>
    <p:handoutMasterId r:id="rId6"/>
  </p:handoutMasterIdLst>
  <p:sldIdLst>
    <p:sldId id="273" r:id="rId3"/>
    <p:sldId id="274" r:id="rId4"/>
  </p:sldIdLst>
  <p:sldSz cx="9144000" cy="6858000" type="screen4x3"/>
  <p:notesSz cx="6797675" cy="9926638"/>
  <p:custDataLst>
    <p:tags r:id="rId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553" userDrawn="1">
          <p15:clr>
            <a:srgbClr val="A4A3A4"/>
          </p15:clr>
        </p15:guide>
        <p15:guide id="4" pos="200" userDrawn="1">
          <p15:clr>
            <a:srgbClr val="A4A3A4"/>
          </p15:clr>
        </p15:guide>
        <p15:guide id="5" orient="horz" pos="1675" userDrawn="1">
          <p15:clr>
            <a:srgbClr val="A4A3A4"/>
          </p15:clr>
        </p15:guide>
        <p15:guide id="6" orient="horz" pos="3884" userDrawn="1">
          <p15:clr>
            <a:srgbClr val="A4A3A4"/>
          </p15:clr>
        </p15:guide>
        <p15:guide id="7" pos="5575" userDrawn="1">
          <p15:clr>
            <a:srgbClr val="A4A3A4"/>
          </p15:clr>
        </p15:guide>
        <p15:guide id="8" pos="5036" userDrawn="1">
          <p15:clr>
            <a:srgbClr val="A4A3A4"/>
          </p15:clr>
        </p15:guide>
        <p15:guide id="9" orient="horz" pos="1680" userDrawn="1">
          <p15:clr>
            <a:srgbClr val="A4A3A4"/>
          </p15:clr>
        </p15:guide>
        <p15:guide id="10" pos="320" userDrawn="1">
          <p15:clr>
            <a:srgbClr val="A4A3A4"/>
          </p15:clr>
        </p15:guide>
        <p15:guide id="11" orient="horz" pos="4145" userDrawn="1">
          <p15:clr>
            <a:srgbClr val="A4A3A4"/>
          </p15:clr>
        </p15:guide>
        <p15:guide id="12" orient="horz" pos="743" userDrawn="1">
          <p15:clr>
            <a:srgbClr val="A4A3A4"/>
          </p15:clr>
        </p15:guide>
        <p15:guide id="13" orient="horz" pos="3444" userDrawn="1">
          <p15:clr>
            <a:srgbClr val="A4A3A4"/>
          </p15:clr>
        </p15:guide>
        <p15:guide id="14" orient="horz" pos="2773" userDrawn="1">
          <p15:clr>
            <a:srgbClr val="A4A3A4"/>
          </p15:clr>
        </p15:guide>
        <p15:guide id="15" orient="horz" pos="4245" userDrawn="1">
          <p15:clr>
            <a:srgbClr val="A4A3A4"/>
          </p15:clr>
        </p15:guide>
        <p15:guide id="16" orient="horz" pos="1848" userDrawn="1">
          <p15:clr>
            <a:srgbClr val="A4A3A4"/>
          </p15:clr>
        </p15:guide>
        <p15:guide id="17" orient="horz" pos="4213" userDrawn="1">
          <p15:clr>
            <a:srgbClr val="A4A3A4"/>
          </p15:clr>
        </p15:guide>
        <p15:guide id="18" pos="4929" userDrawn="1">
          <p15:clr>
            <a:srgbClr val="A4A3A4"/>
          </p15:clr>
        </p15:guide>
        <p15:guide id="19" pos="327" userDrawn="1">
          <p15:clr>
            <a:srgbClr val="A4A3A4"/>
          </p15:clr>
        </p15:guide>
        <p15:guide id="20" pos="5661" userDrawn="1">
          <p15:clr>
            <a:srgbClr val="A4A3A4"/>
          </p15:clr>
        </p15:guide>
        <p15:guide id="21" pos="112" userDrawn="1">
          <p15:clr>
            <a:srgbClr val="A4A3A4"/>
          </p15:clr>
        </p15:guide>
        <p15:guide id="22" orient="horz" pos="1017" userDrawn="1">
          <p15:clr>
            <a:srgbClr val="A4A3A4"/>
          </p15:clr>
        </p15:guide>
        <p15:guide id="23" orient="horz" pos="2335" userDrawn="1">
          <p15:clr>
            <a:srgbClr val="A4A3A4"/>
          </p15:clr>
        </p15:guide>
        <p15:guide id="24" orient="horz" pos="1013" userDrawn="1">
          <p15:clr>
            <a:srgbClr val="A4A3A4"/>
          </p15:clr>
        </p15:guide>
        <p15:guide id="25" orient="horz" pos="2267" userDrawn="1">
          <p15:clr>
            <a:srgbClr val="A4A3A4"/>
          </p15:clr>
        </p15:guide>
        <p15:guide id="26" orient="horz" pos="645" userDrawn="1">
          <p15:clr>
            <a:srgbClr val="A4A3A4"/>
          </p15:clr>
        </p15:guide>
        <p15:guide id="27" orient="horz" pos="2299" userDrawn="1">
          <p15:clr>
            <a:srgbClr val="A4A3A4"/>
          </p15:clr>
        </p15:guide>
        <p15:guide id="28" orient="horz" pos="1379" userDrawn="1">
          <p15:clr>
            <a:srgbClr val="A4A3A4"/>
          </p15:clr>
        </p15:guide>
        <p15:guide id="29" orient="horz" pos="4003" userDrawn="1">
          <p15:clr>
            <a:srgbClr val="A4A3A4"/>
          </p15:clr>
        </p15:guide>
        <p15:guide id="30" orient="horz" pos="3710" userDrawn="1">
          <p15:clr>
            <a:srgbClr val="A4A3A4"/>
          </p15:clr>
        </p15:guide>
        <p15:guide id="31" orient="horz" pos="3499" userDrawn="1">
          <p15:clr>
            <a:srgbClr val="A4A3A4"/>
          </p15:clr>
        </p15:guide>
        <p15:guide id="32" orient="horz" pos="1893" userDrawn="1">
          <p15:clr>
            <a:srgbClr val="A4A3A4"/>
          </p15:clr>
        </p15:guide>
        <p15:guide id="33" pos="1479" userDrawn="1">
          <p15:clr>
            <a:srgbClr val="A4A3A4"/>
          </p15:clr>
        </p15:guide>
        <p15:guide id="34" pos="5663" userDrawn="1">
          <p15:clr>
            <a:srgbClr val="A4A3A4"/>
          </p15:clr>
        </p15:guide>
        <p15:guide id="35" pos="5204" userDrawn="1">
          <p15:clr>
            <a:srgbClr val="A4A3A4"/>
          </p15:clr>
        </p15:guide>
        <p15:guide id="36" pos="2135" userDrawn="1">
          <p15:clr>
            <a:srgbClr val="A4A3A4"/>
          </p15:clr>
        </p15:guide>
        <p15:guide id="37" pos="3861" userDrawn="1">
          <p15:clr>
            <a:srgbClr val="A4A3A4"/>
          </p15:clr>
        </p15:guide>
        <p15:guide id="38" pos="379" userDrawn="1">
          <p15:clr>
            <a:srgbClr val="A4A3A4"/>
          </p15:clr>
        </p15:guide>
        <p15:guide id="39" pos="1279" userDrawn="1">
          <p15:clr>
            <a:srgbClr val="A4A3A4"/>
          </p15:clr>
        </p15:guide>
        <p15:guide id="40" pos="1787" userDrawn="1">
          <p15:clr>
            <a:srgbClr val="A4A3A4"/>
          </p15:clr>
        </p15:guide>
        <p15:guide id="41" orient="horz" pos="732" userDrawn="1">
          <p15:clr>
            <a:srgbClr val="A4A3A4"/>
          </p15:clr>
        </p15:guide>
        <p15:guide id="42" orient="horz" pos="2965" userDrawn="1">
          <p15:clr>
            <a:srgbClr val="A4A3A4"/>
          </p15:clr>
        </p15:guide>
        <p15:guide id="43" orient="horz" pos="3782" userDrawn="1">
          <p15:clr>
            <a:srgbClr val="A4A3A4"/>
          </p15:clr>
        </p15:guide>
        <p15:guide id="44" orient="horz" pos="708" userDrawn="1">
          <p15:clr>
            <a:srgbClr val="A4A3A4"/>
          </p15:clr>
        </p15:guide>
        <p15:guide id="45" orient="horz" pos="3923" userDrawn="1">
          <p15:clr>
            <a:srgbClr val="A4A3A4"/>
          </p15:clr>
        </p15:guide>
        <p15:guide id="46" orient="horz" pos="563" userDrawn="1">
          <p15:clr>
            <a:srgbClr val="A4A3A4"/>
          </p15:clr>
        </p15:guide>
        <p15:guide id="47" orient="horz" pos="2593" userDrawn="1">
          <p15:clr>
            <a:srgbClr val="A4A3A4"/>
          </p15:clr>
        </p15:guide>
        <p15:guide id="48" orient="horz" pos="1710" userDrawn="1">
          <p15:clr>
            <a:srgbClr val="A4A3A4"/>
          </p15:clr>
        </p15:guide>
        <p15:guide id="49" orient="horz" pos="4225" userDrawn="1">
          <p15:clr>
            <a:srgbClr val="A4A3A4"/>
          </p15:clr>
        </p15:guide>
        <p15:guide id="50" orient="horz" pos="933" userDrawn="1">
          <p15:clr>
            <a:srgbClr val="A4A3A4"/>
          </p15:clr>
        </p15:guide>
        <p15:guide id="51" orient="horz" pos="2083" userDrawn="1">
          <p15:clr>
            <a:srgbClr val="A4A3A4"/>
          </p15:clr>
        </p15:guide>
        <p15:guide id="52" orient="horz" pos="671" userDrawn="1">
          <p15:clr>
            <a:srgbClr val="A4A3A4"/>
          </p15:clr>
        </p15:guide>
        <p15:guide id="53" orient="horz" pos="2279" userDrawn="1">
          <p15:clr>
            <a:srgbClr val="A4A3A4"/>
          </p15:clr>
        </p15:guide>
        <p15:guide id="54" orient="horz" pos="1711" userDrawn="1">
          <p15:clr>
            <a:srgbClr val="A4A3A4"/>
          </p15:clr>
        </p15:guide>
        <p15:guide id="55" orient="horz" pos="3133" userDrawn="1">
          <p15:clr>
            <a:srgbClr val="A4A3A4"/>
          </p15:clr>
        </p15:guide>
        <p15:guide id="56" orient="horz" pos="3740" userDrawn="1">
          <p15:clr>
            <a:srgbClr val="A4A3A4"/>
          </p15:clr>
        </p15:guide>
        <p15:guide id="57" orient="horz" pos="637" userDrawn="1">
          <p15:clr>
            <a:srgbClr val="A4A3A4"/>
          </p15:clr>
        </p15:guide>
        <p15:guide id="58" orient="horz" pos="897" userDrawn="1">
          <p15:clr>
            <a:srgbClr val="A4A3A4"/>
          </p15:clr>
        </p15:guide>
        <p15:guide id="59" pos="3091" userDrawn="1">
          <p15:clr>
            <a:srgbClr val="A4A3A4"/>
          </p15:clr>
        </p15:guide>
        <p15:guide id="60" pos="5395" userDrawn="1">
          <p15:clr>
            <a:srgbClr val="A4A3A4"/>
          </p15:clr>
        </p15:guide>
        <p15:guide id="61" pos="147" userDrawn="1">
          <p15:clr>
            <a:srgbClr val="A4A3A4"/>
          </p15:clr>
        </p15:guide>
        <p15:guide id="62" pos="5361" userDrawn="1">
          <p15:clr>
            <a:srgbClr val="A4A3A4"/>
          </p15:clr>
        </p15:guide>
        <p15:guide id="63" pos="111" userDrawn="1">
          <p15:clr>
            <a:srgbClr val="A4A3A4"/>
          </p15:clr>
        </p15:guide>
        <p15:guide id="64" pos="3845" userDrawn="1">
          <p15:clr>
            <a:srgbClr val="A4A3A4"/>
          </p15:clr>
        </p15:guide>
        <p15:guide id="65" pos="324" userDrawn="1">
          <p15:clr>
            <a:srgbClr val="A4A3A4"/>
          </p15:clr>
        </p15:guide>
        <p15:guide id="66" pos="1555" userDrawn="1">
          <p15:clr>
            <a:srgbClr val="A4A3A4"/>
          </p15:clr>
        </p15:guide>
        <p15:guide id="67" pos="1805" userDrawn="1">
          <p15:clr>
            <a:srgbClr val="A4A3A4"/>
          </p15:clr>
        </p15:guide>
        <p15:guide id="68" orient="horz" pos="3602" userDrawn="1">
          <p15:clr>
            <a:srgbClr val="A4A3A4"/>
          </p15:clr>
        </p15:guide>
        <p15:guide id="69" orient="horz" pos="3600" userDrawn="1">
          <p15:clr>
            <a:srgbClr val="A4A3A4"/>
          </p15:clr>
        </p15:guide>
        <p15:guide id="70" orient="horz" pos="3345" userDrawn="1">
          <p15:clr>
            <a:srgbClr val="A4A3A4"/>
          </p15:clr>
        </p15:guide>
        <p15:guide id="71" orient="horz" pos="3563" userDrawn="1">
          <p15:clr>
            <a:srgbClr val="A4A3A4"/>
          </p15:clr>
        </p15:guide>
        <p15:guide id="72" pos="465" userDrawn="1">
          <p15:clr>
            <a:srgbClr val="A4A3A4"/>
          </p15:clr>
        </p15:guide>
        <p15:guide id="73" pos="615" userDrawn="1">
          <p15:clr>
            <a:srgbClr val="A4A3A4"/>
          </p15:clr>
        </p15:guide>
        <p15:guide id="74" pos="879" userDrawn="1">
          <p15:clr>
            <a:srgbClr val="A4A3A4"/>
          </p15:clr>
        </p15:guide>
        <p15:guide id="75" pos="1451" userDrawn="1">
          <p15:clr>
            <a:srgbClr val="A4A3A4"/>
          </p15:clr>
        </p15:guide>
        <p15:guide id="76" orient="horz" pos="1620" userDrawn="1">
          <p15:clr>
            <a:srgbClr val="A4A3A4"/>
          </p15:clr>
        </p15:guide>
        <p15:guide id="77" orient="horz" pos="836" userDrawn="1">
          <p15:clr>
            <a:srgbClr val="A4A3A4"/>
          </p15:clr>
        </p15:guide>
        <p15:guide id="78" orient="horz" pos="1336" userDrawn="1">
          <p15:clr>
            <a:srgbClr val="A4A3A4"/>
          </p15:clr>
        </p15:guide>
        <p15:guide id="79" orient="horz" pos="1116" userDrawn="1">
          <p15:clr>
            <a:srgbClr val="A4A3A4"/>
          </p15:clr>
        </p15:guide>
        <p15:guide id="80" orient="horz" pos="2245" userDrawn="1">
          <p15:clr>
            <a:srgbClr val="A4A3A4"/>
          </p15:clr>
        </p15:guide>
        <p15:guide id="81" orient="horz" pos="16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-manuel DE FABRITUS" initials="VDF" lastIdx="13" clrIdx="0">
    <p:extLst>
      <p:ext uri="{19B8F6BF-5375-455C-9EA6-DF929625EA0E}">
        <p15:presenceInfo xmlns:p15="http://schemas.microsoft.com/office/powerpoint/2012/main" userId="22a9a60b79b33dd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37"/>
    <a:srgbClr val="0005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3" autoAdjust="0"/>
    <p:restoredTop sz="95304"/>
  </p:normalViewPr>
  <p:slideViewPr>
    <p:cSldViewPr>
      <p:cViewPr>
        <p:scale>
          <a:sx n="115" d="100"/>
          <a:sy n="115" d="100"/>
        </p:scale>
        <p:origin x="267" y="62"/>
      </p:cViewPr>
      <p:guideLst>
        <p:guide orient="horz" pos="2160"/>
        <p:guide pos="2880"/>
        <p:guide orient="horz" pos="3553"/>
        <p:guide pos="200"/>
        <p:guide orient="horz" pos="1675"/>
        <p:guide orient="horz" pos="3884"/>
        <p:guide pos="5575"/>
        <p:guide pos="5036"/>
        <p:guide orient="horz" pos="1680"/>
        <p:guide pos="320"/>
        <p:guide orient="horz" pos="4145"/>
        <p:guide orient="horz" pos="743"/>
        <p:guide orient="horz" pos="3444"/>
        <p:guide orient="horz" pos="2773"/>
        <p:guide orient="horz" pos="4245"/>
        <p:guide orient="horz" pos="1848"/>
        <p:guide orient="horz" pos="4213"/>
        <p:guide pos="4929"/>
        <p:guide pos="327"/>
        <p:guide pos="5661"/>
        <p:guide pos="112"/>
        <p:guide orient="horz" pos="1017"/>
        <p:guide orient="horz" pos="2335"/>
        <p:guide orient="horz" pos="1013"/>
        <p:guide orient="horz" pos="2267"/>
        <p:guide orient="horz" pos="645"/>
        <p:guide orient="horz" pos="2299"/>
        <p:guide orient="horz" pos="1379"/>
        <p:guide orient="horz" pos="4003"/>
        <p:guide orient="horz" pos="3710"/>
        <p:guide orient="horz" pos="3499"/>
        <p:guide orient="horz" pos="1893"/>
        <p:guide pos="1479"/>
        <p:guide pos="5663"/>
        <p:guide pos="5204"/>
        <p:guide pos="2135"/>
        <p:guide pos="3861"/>
        <p:guide pos="379"/>
        <p:guide pos="1279"/>
        <p:guide pos="1787"/>
        <p:guide orient="horz" pos="732"/>
        <p:guide orient="horz" pos="2965"/>
        <p:guide orient="horz" pos="3782"/>
        <p:guide orient="horz" pos="708"/>
        <p:guide orient="horz" pos="3923"/>
        <p:guide orient="horz" pos="563"/>
        <p:guide orient="horz" pos="2593"/>
        <p:guide orient="horz" pos="1710"/>
        <p:guide orient="horz" pos="4225"/>
        <p:guide orient="horz" pos="933"/>
        <p:guide orient="horz" pos="2083"/>
        <p:guide orient="horz" pos="671"/>
        <p:guide orient="horz" pos="2279"/>
        <p:guide orient="horz" pos="1711"/>
        <p:guide orient="horz" pos="3133"/>
        <p:guide orient="horz" pos="3740"/>
        <p:guide orient="horz" pos="637"/>
        <p:guide orient="horz" pos="897"/>
        <p:guide pos="3091"/>
        <p:guide pos="5395"/>
        <p:guide pos="147"/>
        <p:guide pos="5361"/>
        <p:guide pos="111"/>
        <p:guide pos="3845"/>
        <p:guide pos="324"/>
        <p:guide pos="1555"/>
        <p:guide pos="1805"/>
        <p:guide orient="horz" pos="3602"/>
        <p:guide orient="horz" pos="3600"/>
        <p:guide orient="horz" pos="3345"/>
        <p:guide orient="horz" pos="3563"/>
        <p:guide pos="465"/>
        <p:guide pos="615"/>
        <p:guide pos="879"/>
        <p:guide pos="1451"/>
        <p:guide orient="horz" pos="1620"/>
        <p:guide orient="horz" pos="836"/>
        <p:guide orient="horz" pos="1336"/>
        <p:guide orient="horz" pos="1116"/>
        <p:guide orient="horz" pos="2245"/>
        <p:guide orient="horz" pos="16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7" d="100"/>
          <a:sy n="77" d="100"/>
        </p:scale>
        <p:origin x="3360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8-26T12:56:40.705" idx="13">
    <p:pos x="979" y="2071"/>
    <p:text>Enrichissement nécessaire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DDE89B25-599F-486B-A156-F5D9F35D7F8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A6C0E9A-A093-4E70-A05B-38CCCF8CF7E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1EB8CD-6E51-4888-B6B5-F053358589D0}" type="datetimeFigureOut">
              <a:rPr lang="en-US" smtClean="0"/>
              <a:t>8/26/2020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C869A2A-CB62-4332-9594-8E674188BB2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E92DFA7-9B1C-4F8E-9194-F73319AE32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D78ADB-CC16-43F8-B452-9C4AA1EE4A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8312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07D11E-9764-4F94-A0D8-22F46D5EF1B7}" type="datetimeFigureOut">
              <a:rPr lang="en-US" smtClean="0"/>
              <a:t>8/2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321112-2982-45CD-961F-6D0485D2127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934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665950D9-01FF-4B52-9A95-D8F40F9FCEEC}"/>
              </a:ext>
            </a:extLst>
          </p:cNvPr>
          <p:cNvSpPr/>
          <p:nvPr userDrawn="1"/>
        </p:nvSpPr>
        <p:spPr>
          <a:xfrm>
            <a:off x="0" y="6056793"/>
            <a:ext cx="9144000" cy="8012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A2C32B-E347-4210-AB4B-FCF6732E69CE}"/>
              </a:ext>
            </a:extLst>
          </p:cNvPr>
          <p:cNvSpPr/>
          <p:nvPr userDrawn="1"/>
        </p:nvSpPr>
        <p:spPr>
          <a:xfrm>
            <a:off x="0" y="1"/>
            <a:ext cx="9144000" cy="15567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77C458-CF04-4CB7-9C95-8859ACBACF82}"/>
              </a:ext>
            </a:extLst>
          </p:cNvPr>
          <p:cNvSpPr/>
          <p:nvPr userDrawn="1"/>
        </p:nvSpPr>
        <p:spPr>
          <a:xfrm>
            <a:off x="107506" y="1556792"/>
            <a:ext cx="9036495" cy="450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6DFCC28-485D-4D5E-A263-C429F18B7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559" t="5278" b="11584"/>
          <a:stretch/>
        </p:blipFill>
        <p:spPr>
          <a:xfrm>
            <a:off x="1" y="1556792"/>
            <a:ext cx="4585612" cy="451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024216" y="2787790"/>
            <a:ext cx="5724248" cy="43088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defRPr sz="2800" b="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203848" y="3319123"/>
            <a:ext cx="3083859" cy="200055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110414" y="6316754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47C6270-4E94-48F5-AA20-8AEA929295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7544" y="437932"/>
            <a:ext cx="3032767" cy="80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956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12">
            <a:extLst>
              <a:ext uri="{FF2B5EF4-FFF2-40B4-BE49-F238E27FC236}">
                <a16:creationId xmlns:a16="http://schemas.microsoft.com/office/drawing/2014/main" id="{84826746-CC6C-4FC7-AD6B-676813665E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1818" y="4922006"/>
            <a:ext cx="8336732" cy="990600"/>
          </a:xfrm>
          <a:solidFill>
            <a:srgbClr val="EFF0F2"/>
          </a:solidFill>
        </p:spPr>
        <p:txBody>
          <a:bodyPr lIns="2214000" tIns="180000">
            <a:normAutofit/>
          </a:bodyPr>
          <a:lstStyle>
            <a:lvl1pPr>
              <a:lnSpc>
                <a:spcPts val="1101"/>
              </a:lnSpc>
              <a:spcBef>
                <a:spcPts val="0"/>
              </a:spcBef>
              <a:defRPr sz="735">
                <a:solidFill>
                  <a:srgbClr val="4C5052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40">
            <a:extLst>
              <a:ext uri="{FF2B5EF4-FFF2-40B4-BE49-F238E27FC236}">
                <a16:creationId xmlns:a16="http://schemas.microsoft.com/office/drawing/2014/main" id="{F44E24AF-A6F7-4519-84BD-F1D82D372B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4228" y="1871947"/>
            <a:ext cx="3996337" cy="835301"/>
          </a:xfrm>
        </p:spPr>
        <p:txBody>
          <a:bodyPr/>
          <a:lstStyle>
            <a:lvl3pPr>
              <a:buSzPct val="150000"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texte 40">
            <a:extLst>
              <a:ext uri="{FF2B5EF4-FFF2-40B4-BE49-F238E27FC236}">
                <a16:creationId xmlns:a16="http://schemas.microsoft.com/office/drawing/2014/main" id="{4CE84267-6C30-4DA7-BA68-D322E27BA5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2213" y="1871945"/>
            <a:ext cx="4014361" cy="835301"/>
          </a:xfrm>
        </p:spPr>
        <p:txBody>
          <a:bodyPr/>
          <a:lstStyle>
            <a:lvl3pPr>
              <a:buSzPct val="150000"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3C0709D6-A7A8-43AF-A4CF-AA967E4AC04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84225" y="1239972"/>
            <a:ext cx="4002451" cy="37455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lnSpc>
                <a:spcPts val="1112"/>
              </a:lnSpc>
              <a:spcBef>
                <a:spcPts val="0"/>
              </a:spcBef>
              <a:buNone/>
              <a:defRPr sz="718" b="1" cap="all" baseline="0">
                <a:solidFill>
                  <a:schemeClr val="bg1"/>
                </a:solidFill>
              </a:defRPr>
            </a:lvl1pPr>
            <a:lvl2pPr marL="317677" indent="0">
              <a:buNone/>
              <a:defRPr sz="1390" b="1"/>
            </a:lvl2pPr>
            <a:lvl3pPr marL="635355" indent="0">
              <a:buNone/>
              <a:defRPr sz="1251" b="1"/>
            </a:lvl3pPr>
            <a:lvl4pPr marL="953033" indent="0">
              <a:buNone/>
              <a:defRPr sz="1112" b="1"/>
            </a:lvl4pPr>
            <a:lvl5pPr marL="1270710" indent="0">
              <a:buNone/>
              <a:defRPr sz="1112" b="1"/>
            </a:lvl5pPr>
            <a:lvl6pPr marL="1588388" indent="0">
              <a:buNone/>
              <a:defRPr sz="1112" b="1"/>
            </a:lvl6pPr>
            <a:lvl7pPr marL="1906065" indent="0">
              <a:buNone/>
              <a:defRPr sz="1112" b="1"/>
            </a:lvl7pPr>
            <a:lvl8pPr marL="2223743" indent="0">
              <a:buNone/>
              <a:defRPr sz="1112" b="1"/>
            </a:lvl8pPr>
            <a:lvl9pPr marL="2541419" indent="0">
              <a:buNone/>
              <a:defRPr sz="1112" b="1"/>
            </a:lvl9pPr>
          </a:lstStyle>
          <a:p>
            <a:pPr lvl="0"/>
            <a:r>
              <a:rPr lang="fr-FR"/>
              <a:t>TITRE DE LA COLONNE 1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779DA27A-7EF0-4940-A55C-A5B36DDB64E0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732213" y="1239971"/>
            <a:ext cx="4027563" cy="37455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lnSpc>
                <a:spcPts val="1112"/>
              </a:lnSpc>
              <a:spcBef>
                <a:spcPts val="0"/>
              </a:spcBef>
              <a:buNone/>
              <a:defRPr sz="718" b="1" cap="all" baseline="0">
                <a:solidFill>
                  <a:schemeClr val="bg1"/>
                </a:solidFill>
              </a:defRPr>
            </a:lvl1pPr>
            <a:lvl2pPr marL="317677" indent="0">
              <a:buNone/>
              <a:defRPr sz="1390" b="1"/>
            </a:lvl2pPr>
            <a:lvl3pPr marL="635355" indent="0">
              <a:buNone/>
              <a:defRPr sz="1251" b="1"/>
            </a:lvl3pPr>
            <a:lvl4pPr marL="953033" indent="0">
              <a:buNone/>
              <a:defRPr sz="1112" b="1"/>
            </a:lvl4pPr>
            <a:lvl5pPr marL="1270710" indent="0">
              <a:buNone/>
              <a:defRPr sz="1112" b="1"/>
            </a:lvl5pPr>
            <a:lvl6pPr marL="1588388" indent="0">
              <a:buNone/>
              <a:defRPr sz="1112" b="1"/>
            </a:lvl6pPr>
            <a:lvl7pPr marL="1906065" indent="0">
              <a:buNone/>
              <a:defRPr sz="1112" b="1"/>
            </a:lvl7pPr>
            <a:lvl8pPr marL="2223743" indent="0">
              <a:buNone/>
              <a:defRPr sz="1112" b="1"/>
            </a:lvl8pPr>
            <a:lvl9pPr marL="2541419" indent="0">
              <a:buNone/>
              <a:defRPr sz="1112" b="1"/>
            </a:lvl9pPr>
          </a:lstStyle>
          <a:p>
            <a:pPr lvl="0"/>
            <a:r>
              <a:rPr lang="fr-FR"/>
              <a:t>TITRE DE LA COLONNE 1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48131D7-F7CE-4756-BAAA-D61887DA84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91817" y="4922006"/>
            <a:ext cx="1758755" cy="990600"/>
          </a:xfrm>
        </p:spPr>
        <p:txBody>
          <a:bodyPr anchor="ctr">
            <a:normAutofit/>
          </a:bodyPr>
          <a:lstStyle>
            <a:lvl1pPr marL="0" indent="0" algn="ctr">
              <a:lnSpc>
                <a:spcPts val="1724"/>
              </a:lnSpc>
              <a:spcBef>
                <a:spcPts val="0"/>
              </a:spcBef>
              <a:buNone/>
              <a:defRPr sz="1437" b="1">
                <a:solidFill>
                  <a:srgbClr val="4C5052"/>
                </a:solidFill>
              </a:defRPr>
            </a:lvl1pPr>
            <a:lvl2pPr marL="317677" indent="0">
              <a:buNone/>
              <a:defRPr sz="1390" b="1"/>
            </a:lvl2pPr>
            <a:lvl3pPr marL="635355" indent="0">
              <a:buNone/>
              <a:defRPr sz="1251" b="1"/>
            </a:lvl3pPr>
            <a:lvl4pPr marL="953033" indent="0">
              <a:buNone/>
              <a:defRPr sz="1112" b="1"/>
            </a:lvl4pPr>
            <a:lvl5pPr marL="1270710" indent="0">
              <a:buNone/>
              <a:defRPr sz="1112" b="1"/>
            </a:lvl5pPr>
            <a:lvl6pPr marL="1588388" indent="0">
              <a:buNone/>
              <a:defRPr sz="1112" b="1"/>
            </a:lvl6pPr>
            <a:lvl7pPr marL="1906065" indent="0">
              <a:buNone/>
              <a:defRPr sz="1112" b="1"/>
            </a:lvl7pPr>
            <a:lvl8pPr marL="2223743" indent="0">
              <a:buNone/>
              <a:defRPr sz="1112" b="1"/>
            </a:lvl8pPr>
            <a:lvl9pPr marL="2541419" indent="0">
              <a:buNone/>
              <a:defRPr sz="1112" b="1"/>
            </a:lvl9pPr>
          </a:lstStyle>
          <a:p>
            <a:pPr lvl="0"/>
            <a:r>
              <a:rPr lang="fr-FR" dirty="0"/>
              <a:t>Titre sur 2 lignes</a:t>
            </a:r>
          </a:p>
          <a:p>
            <a:pPr lvl="0"/>
            <a:r>
              <a:rPr lang="fr-FR" dirty="0"/>
              <a:t>si besoin</a:t>
            </a:r>
          </a:p>
        </p:txBody>
      </p:sp>
    </p:spTree>
    <p:extLst>
      <p:ext uri="{BB962C8B-B14F-4D97-AF65-F5344CB8AC3E}">
        <p14:creationId xmlns:p14="http://schemas.microsoft.com/office/powerpoint/2010/main" val="1721233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gue + Conten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 hasCustomPrompt="1"/>
          </p:nvPr>
        </p:nvSpPr>
        <p:spPr>
          <a:xfrm>
            <a:off x="3672000" y="1281600"/>
            <a:ext cx="5188043" cy="3462486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/>
              <a:t>S</a:t>
            </a:r>
            <a:r>
              <a:rPr lang="en-US" dirty="0" err="1"/>
              <a:t>ixth</a:t>
            </a:r>
            <a:r>
              <a:rPr lang="en-US" dirty="0"/>
              <a:t> level</a:t>
            </a:r>
            <a:endParaRPr lang="fr-FR" dirty="0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 hasCustomPrompt="1"/>
          </p:nvPr>
        </p:nvSpPr>
        <p:spPr>
          <a:xfrm>
            <a:off x="1080002" y="1316050"/>
            <a:ext cx="2268820" cy="2352504"/>
          </a:xfrm>
          <a:solidFill>
            <a:schemeClr val="tx1"/>
          </a:solidFill>
        </p:spPr>
        <p:txBody>
          <a:bodyPr lIns="180000" tIns="108000" rIns="180000" bIns="108000" anchor="ctr" anchorCtr="0">
            <a:noAutofit/>
          </a:bodyPr>
          <a:lstStyle>
            <a:lvl1pPr>
              <a:spcBef>
                <a:spcPts val="1800"/>
              </a:spcBef>
              <a:defRPr sz="3600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spcBef>
                <a:spcPts val="0"/>
              </a:spcBef>
              <a:defRPr sz="1200" b="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1" y="3795709"/>
            <a:ext cx="2269321" cy="1529327"/>
          </a:xfrm>
          <a:solidFill>
            <a:srgbClr val="EAEAEA"/>
          </a:solidFill>
        </p:spPr>
        <p:txBody>
          <a:bodyPr lIns="180000" tIns="108000" rIns="180000" bIns="108000" anchor="ctr" anchorCtr="0">
            <a:noAutofit/>
          </a:bodyPr>
          <a:lstStyle>
            <a:lvl1pPr>
              <a:spcBef>
                <a:spcPts val="0"/>
              </a:spcBef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5487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3678613" y="1299600"/>
            <a:ext cx="2361600" cy="346248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0" y="1299600"/>
            <a:ext cx="2361600" cy="346248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6259514" y="1308099"/>
            <a:ext cx="2884487" cy="45005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82463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ncadré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1079500" y="4493479"/>
            <a:ext cx="2592389" cy="1900115"/>
          </a:xfrm>
          <a:solidFill>
            <a:schemeClr val="tx1"/>
          </a:solidFill>
        </p:spPr>
        <p:txBody>
          <a:bodyPr lIns="180000" tIns="180000" rIns="180000" bIns="180000">
            <a:noAutofit/>
          </a:bodyPr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0" y="1299600"/>
            <a:ext cx="2361600" cy="29081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3671889" y="1308098"/>
            <a:ext cx="5188155" cy="508549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9640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40">
            <a:extLst>
              <a:ext uri="{FF2B5EF4-FFF2-40B4-BE49-F238E27FC236}">
                <a16:creationId xmlns:a16="http://schemas.microsoft.com/office/drawing/2014/main" id="{08DF238E-48E7-4561-BB0A-942DD03294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13696" y="2169435"/>
            <a:ext cx="1711176" cy="1535201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4A298A6C-6BAE-4137-B10B-71BAFF88B0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5668" y="5672204"/>
            <a:ext cx="7754107" cy="493101"/>
          </a:xfrm>
          <a:noFill/>
        </p:spPr>
        <p:txBody>
          <a:bodyPr lIns="0" tIns="0" rIns="0" bIns="0" anchor="t">
            <a:noAutofit/>
          </a:bodyPr>
          <a:lstStyle>
            <a:lvl1pPr algn="ctr">
              <a:lnSpc>
                <a:spcPts val="1101"/>
              </a:lnSpc>
              <a:spcBef>
                <a:spcPts val="0"/>
              </a:spcBef>
              <a:defRPr sz="941" b="1" i="1">
                <a:solidFill>
                  <a:schemeClr val="tx1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12">
            <a:extLst>
              <a:ext uri="{FF2B5EF4-FFF2-40B4-BE49-F238E27FC236}">
                <a16:creationId xmlns:a16="http://schemas.microsoft.com/office/drawing/2014/main" id="{3D3DFD2D-C207-43C4-80C4-88BD9214B2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2192" y="2176956"/>
            <a:ext cx="775416" cy="1536323"/>
          </a:xfrm>
          <a:noFill/>
        </p:spPr>
        <p:txBody>
          <a:bodyPr lIns="0" tIns="0" anchor="ctr">
            <a:normAutofit/>
          </a:bodyPr>
          <a:lstStyle>
            <a:lvl1pPr algn="ctr">
              <a:lnSpc>
                <a:spcPts val="1112"/>
              </a:lnSpc>
              <a:spcBef>
                <a:spcPts val="0"/>
              </a:spcBef>
              <a:defRPr sz="838" b="1" i="0" cap="all" baseline="0">
                <a:solidFill>
                  <a:schemeClr val="tx1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 dirty="0"/>
              <a:t>Titre sur</a:t>
            </a:r>
            <a:br>
              <a:rPr lang="fr-FR" dirty="0"/>
            </a:br>
            <a:r>
              <a:rPr lang="fr-FR" dirty="0" err="1"/>
              <a:t>plusieur</a:t>
            </a:r>
            <a:br>
              <a:rPr lang="fr-FR" dirty="0"/>
            </a:br>
            <a:r>
              <a:rPr lang="fr-FR" dirty="0"/>
              <a:t>lignes</a:t>
            </a:r>
          </a:p>
        </p:txBody>
      </p:sp>
      <p:sp>
        <p:nvSpPr>
          <p:cNvPr id="16" name="Espace réservé du texte 40">
            <a:extLst>
              <a:ext uri="{FF2B5EF4-FFF2-40B4-BE49-F238E27FC236}">
                <a16:creationId xmlns:a16="http://schemas.microsoft.com/office/drawing/2014/main" id="{7134A4DC-9C53-4820-B7B6-51EE31EF50E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5667" y="1090506"/>
            <a:ext cx="1935077" cy="956836"/>
          </a:xfrm>
          <a:prstGeom prst="homePlate">
            <a:avLst>
              <a:gd name="adj" fmla="val 23811"/>
            </a:avLst>
          </a:prstGeom>
          <a:solidFill>
            <a:schemeClr val="tx1"/>
          </a:solidFill>
        </p:spPr>
        <p:txBody>
          <a:bodyPr lIns="432000" tIns="144000">
            <a:noAutofit/>
          </a:bodyPr>
          <a:lstStyle>
            <a:lvl1pPr marL="123146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123146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123146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 dirty="0"/>
              <a:t>Titre bloc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endParaRPr lang="fr-FR" dirty="0"/>
          </a:p>
        </p:txBody>
      </p:sp>
      <p:sp>
        <p:nvSpPr>
          <p:cNvPr id="17" name="Espace réservé du texte 12">
            <a:extLst>
              <a:ext uri="{FF2B5EF4-FFF2-40B4-BE49-F238E27FC236}">
                <a16:creationId xmlns:a16="http://schemas.microsoft.com/office/drawing/2014/main" id="{0E814B9B-2F5A-4FBD-976B-7101628812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2192" y="3804327"/>
            <a:ext cx="775416" cy="1736822"/>
          </a:xfrm>
          <a:noFill/>
        </p:spPr>
        <p:txBody>
          <a:bodyPr lIns="0" tIns="0" anchor="ctr">
            <a:normAutofit/>
          </a:bodyPr>
          <a:lstStyle>
            <a:lvl1pPr algn="ctr">
              <a:lnSpc>
                <a:spcPts val="1112"/>
              </a:lnSpc>
              <a:spcBef>
                <a:spcPts val="0"/>
              </a:spcBef>
              <a:defRPr sz="838" b="1" i="0" cap="all" baseline="0">
                <a:solidFill>
                  <a:schemeClr val="tx1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 dirty="0"/>
              <a:t>Titre sur</a:t>
            </a:r>
            <a:br>
              <a:rPr lang="fr-FR" dirty="0"/>
            </a:br>
            <a:r>
              <a:rPr lang="fr-FR" dirty="0" err="1"/>
              <a:t>plusieur</a:t>
            </a:r>
            <a:br>
              <a:rPr lang="fr-FR" dirty="0"/>
            </a:br>
            <a:r>
              <a:rPr lang="fr-FR" dirty="0"/>
              <a:t>lignes</a:t>
            </a:r>
          </a:p>
        </p:txBody>
      </p:sp>
      <p:sp>
        <p:nvSpPr>
          <p:cNvPr id="18" name="Espace réservé du texte 40">
            <a:extLst>
              <a:ext uri="{FF2B5EF4-FFF2-40B4-BE49-F238E27FC236}">
                <a16:creationId xmlns:a16="http://schemas.microsoft.com/office/drawing/2014/main" id="{78DD2143-71C3-42EC-BE07-3411E553AD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22247" y="1099722"/>
            <a:ext cx="2167079" cy="956836"/>
          </a:xfrm>
          <a:prstGeom prst="chevron">
            <a:avLst>
              <a:gd name="adj" fmla="val 23125"/>
            </a:avLst>
          </a:prstGeom>
          <a:solidFill>
            <a:schemeClr val="tx1"/>
          </a:solidFill>
        </p:spPr>
        <p:txBody>
          <a:bodyPr lIns="432000" tIns="144000">
            <a:noAutofit/>
          </a:bodyPr>
          <a:lstStyle>
            <a:lvl1pPr marL="123146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123146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123146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/>
              <a:t>Titre bloc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endParaRPr lang="fr-FR"/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9" name="Espace réservé du texte 40">
            <a:extLst>
              <a:ext uri="{FF2B5EF4-FFF2-40B4-BE49-F238E27FC236}">
                <a16:creationId xmlns:a16="http://schemas.microsoft.com/office/drawing/2014/main" id="{8AFEBAB4-118B-41D6-8172-A76CA3F551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82722" y="1090506"/>
            <a:ext cx="2167079" cy="956836"/>
          </a:xfrm>
          <a:prstGeom prst="chevron">
            <a:avLst>
              <a:gd name="adj" fmla="val 23125"/>
            </a:avLst>
          </a:prstGeom>
          <a:solidFill>
            <a:schemeClr val="tx1"/>
          </a:solidFill>
        </p:spPr>
        <p:txBody>
          <a:bodyPr lIns="432000" tIns="144000">
            <a:noAutofit/>
          </a:bodyPr>
          <a:lstStyle>
            <a:lvl1pPr marL="123146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123146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123146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/>
              <a:t>Titre bloc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endParaRPr lang="fr-FR"/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0" name="Espace réservé du texte 40">
            <a:extLst>
              <a:ext uri="{FF2B5EF4-FFF2-40B4-BE49-F238E27FC236}">
                <a16:creationId xmlns:a16="http://schemas.microsoft.com/office/drawing/2014/main" id="{D2F72F2E-DE24-4F84-84BD-1EA5B79A43C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43195" y="1090046"/>
            <a:ext cx="2048583" cy="956836"/>
          </a:xfrm>
          <a:prstGeom prst="chevron">
            <a:avLst>
              <a:gd name="adj" fmla="val 21391"/>
            </a:avLst>
          </a:prstGeom>
          <a:solidFill>
            <a:schemeClr val="tx1"/>
          </a:solidFill>
        </p:spPr>
        <p:txBody>
          <a:bodyPr lIns="432000" tIns="144000">
            <a:noAutofit/>
          </a:bodyPr>
          <a:lstStyle>
            <a:lvl1pPr marL="123146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123146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123146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/>
              <a:t>Titre bloc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endParaRPr lang="fr-FR"/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texte 40">
            <a:extLst>
              <a:ext uri="{FF2B5EF4-FFF2-40B4-BE49-F238E27FC236}">
                <a16:creationId xmlns:a16="http://schemas.microsoft.com/office/drawing/2014/main" id="{F2F0CE35-5498-441B-BE23-50D653870E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848424" y="2169434"/>
            <a:ext cx="1941977" cy="1535201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texte 40">
            <a:extLst>
              <a:ext uri="{FF2B5EF4-FFF2-40B4-BE49-F238E27FC236}">
                <a16:creationId xmlns:a16="http://schemas.microsoft.com/office/drawing/2014/main" id="{CAE7F7A7-C769-4415-8777-ED335BC9C29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10743" y="2169435"/>
            <a:ext cx="1908903" cy="1535201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3" name="Espace réservé du texte 40">
            <a:extLst>
              <a:ext uri="{FF2B5EF4-FFF2-40B4-BE49-F238E27FC236}">
                <a16:creationId xmlns:a16="http://schemas.microsoft.com/office/drawing/2014/main" id="{CEA4488B-7EB8-4217-8F21-7FEA5464AAE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43196" y="2169435"/>
            <a:ext cx="1816579" cy="1535201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4" name="Espace réservé du texte 40">
            <a:extLst>
              <a:ext uri="{FF2B5EF4-FFF2-40B4-BE49-F238E27FC236}">
                <a16:creationId xmlns:a16="http://schemas.microsoft.com/office/drawing/2014/main" id="{DA45F14E-6034-4FB9-9A20-88927B19532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13697" y="3821526"/>
            <a:ext cx="1711177" cy="1719623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5" name="Espace réservé du texte 40">
            <a:extLst>
              <a:ext uri="{FF2B5EF4-FFF2-40B4-BE49-F238E27FC236}">
                <a16:creationId xmlns:a16="http://schemas.microsoft.com/office/drawing/2014/main" id="{1D467600-C17E-47DF-B2BD-BCBFB2F3C11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848422" y="3821525"/>
            <a:ext cx="1942164" cy="1719623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6" name="Espace réservé du texte 40">
            <a:extLst>
              <a:ext uri="{FF2B5EF4-FFF2-40B4-BE49-F238E27FC236}">
                <a16:creationId xmlns:a16="http://schemas.microsoft.com/office/drawing/2014/main" id="{C3FAD4CE-55D4-450B-9DC2-3560E8927D4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910743" y="3821526"/>
            <a:ext cx="1908903" cy="1719623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7" name="Espace réservé du texte 40">
            <a:extLst>
              <a:ext uri="{FF2B5EF4-FFF2-40B4-BE49-F238E27FC236}">
                <a16:creationId xmlns:a16="http://schemas.microsoft.com/office/drawing/2014/main" id="{80909198-BAEE-4CD5-8A39-B060B258BA1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943195" y="3821526"/>
            <a:ext cx="1816581" cy="1719623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sz="718"/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480284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2" name="Espace réservé du texte 40">
            <a:extLst>
              <a:ext uri="{FF2B5EF4-FFF2-40B4-BE49-F238E27FC236}">
                <a16:creationId xmlns:a16="http://schemas.microsoft.com/office/drawing/2014/main" id="{F9E9F4AE-0ABC-4517-B1C8-62B9BB4D6F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39194" y="1306219"/>
            <a:ext cx="1600709" cy="979302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D72E63CA-45BF-46E1-B927-A4AEC2565C4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39194" y="954456"/>
            <a:ext cx="1600709" cy="133376"/>
          </a:xfrm>
          <a:noFill/>
        </p:spPr>
        <p:txBody>
          <a:bodyPr lIns="0" tIns="0" anchor="ctr">
            <a:noAutofit/>
          </a:bodyPr>
          <a:lstStyle>
            <a:lvl1pPr algn="ctr">
              <a:lnSpc>
                <a:spcPts val="1112"/>
              </a:lnSpc>
              <a:spcBef>
                <a:spcPts val="0"/>
              </a:spcBef>
              <a:defRPr sz="838" b="1" i="0" cap="all" baseline="0">
                <a:solidFill>
                  <a:srgbClr val="55595C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/>
              <a:t>Titre X</a:t>
            </a:r>
          </a:p>
        </p:txBody>
      </p:sp>
      <p:sp>
        <p:nvSpPr>
          <p:cNvPr id="54" name="Espace réservé du texte 40">
            <a:extLst>
              <a:ext uri="{FF2B5EF4-FFF2-40B4-BE49-F238E27FC236}">
                <a16:creationId xmlns:a16="http://schemas.microsoft.com/office/drawing/2014/main" id="{123557E4-1A50-4B65-9750-EDBE37968F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rot="5400000">
            <a:off x="476932" y="1213513"/>
            <a:ext cx="1077232" cy="1262645"/>
          </a:xfrm>
          <a:prstGeom prst="homePlate">
            <a:avLst>
              <a:gd name="adj" fmla="val 10977"/>
            </a:avLst>
          </a:prstGeom>
          <a:solidFill>
            <a:schemeClr val="tx1"/>
          </a:solidFill>
        </p:spPr>
        <p:txBody>
          <a:bodyPr vert="vert270" lIns="144000" tIns="144000" bIns="144000">
            <a:noAutofit/>
          </a:bodyPr>
          <a:lstStyle>
            <a:lvl1pPr marL="0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0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0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 dirty="0"/>
              <a:t>Titre bloc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55" name="Espace réservé du texte 40">
            <a:extLst>
              <a:ext uri="{FF2B5EF4-FFF2-40B4-BE49-F238E27FC236}">
                <a16:creationId xmlns:a16="http://schemas.microsoft.com/office/drawing/2014/main" id="{4C80DD08-B5A2-48D1-8FA2-B0B3C3DE9D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5400000">
            <a:off x="427245" y="2340433"/>
            <a:ext cx="1176604" cy="1262645"/>
          </a:xfrm>
          <a:prstGeom prst="chevron">
            <a:avLst>
              <a:gd name="adj" fmla="val 11194"/>
            </a:avLst>
          </a:prstGeom>
          <a:solidFill>
            <a:schemeClr val="tx1"/>
          </a:solidFill>
        </p:spPr>
        <p:txBody>
          <a:bodyPr vert="vert270" lIns="144000" tIns="144000" bIns="144000">
            <a:noAutofit/>
          </a:bodyPr>
          <a:lstStyle>
            <a:lvl1pPr marL="0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0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0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 dirty="0"/>
              <a:t>Titre bloc</a:t>
            </a:r>
          </a:p>
        </p:txBody>
      </p:sp>
      <p:sp>
        <p:nvSpPr>
          <p:cNvPr id="56" name="Espace réservé du texte 12">
            <a:extLst>
              <a:ext uri="{FF2B5EF4-FFF2-40B4-BE49-F238E27FC236}">
                <a16:creationId xmlns:a16="http://schemas.microsoft.com/office/drawing/2014/main" id="{672CFE14-5BEA-4577-A582-AFF1BD292C3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63452" y="954456"/>
            <a:ext cx="1600709" cy="133376"/>
          </a:xfrm>
          <a:noFill/>
        </p:spPr>
        <p:txBody>
          <a:bodyPr lIns="0" tIns="0" anchor="ctr">
            <a:noAutofit/>
          </a:bodyPr>
          <a:lstStyle>
            <a:lvl1pPr algn="ctr">
              <a:lnSpc>
                <a:spcPts val="1112"/>
              </a:lnSpc>
              <a:spcBef>
                <a:spcPts val="0"/>
              </a:spcBef>
              <a:defRPr sz="838" b="1" i="0" cap="all" baseline="0">
                <a:solidFill>
                  <a:srgbClr val="55595C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/>
              <a:t>Titre X</a:t>
            </a:r>
          </a:p>
        </p:txBody>
      </p:sp>
      <p:sp>
        <p:nvSpPr>
          <p:cNvPr id="57" name="Espace réservé du texte 12">
            <a:extLst>
              <a:ext uri="{FF2B5EF4-FFF2-40B4-BE49-F238E27FC236}">
                <a16:creationId xmlns:a16="http://schemas.microsoft.com/office/drawing/2014/main" id="{58FBD844-9ED2-4833-9F2A-7BAD506655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86598" y="954456"/>
            <a:ext cx="1571953" cy="133376"/>
          </a:xfrm>
          <a:noFill/>
        </p:spPr>
        <p:txBody>
          <a:bodyPr lIns="0" tIns="0" anchor="ctr">
            <a:noAutofit/>
          </a:bodyPr>
          <a:lstStyle>
            <a:lvl1pPr algn="ctr">
              <a:lnSpc>
                <a:spcPts val="1112"/>
              </a:lnSpc>
              <a:spcBef>
                <a:spcPts val="0"/>
              </a:spcBef>
              <a:defRPr sz="838" b="1" i="0" cap="all" baseline="0">
                <a:solidFill>
                  <a:srgbClr val="55595C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/>
              <a:t>Titre X</a:t>
            </a:r>
          </a:p>
        </p:txBody>
      </p:sp>
      <p:sp>
        <p:nvSpPr>
          <p:cNvPr id="58" name="Espace réservé du texte 12">
            <a:extLst>
              <a:ext uri="{FF2B5EF4-FFF2-40B4-BE49-F238E27FC236}">
                <a16:creationId xmlns:a16="http://schemas.microsoft.com/office/drawing/2014/main" id="{C46EF732-6045-46A8-967E-860814C16B4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80742" y="954456"/>
            <a:ext cx="1634609" cy="133376"/>
          </a:xfrm>
          <a:noFill/>
        </p:spPr>
        <p:txBody>
          <a:bodyPr lIns="0" tIns="0" anchor="ctr">
            <a:noAutofit/>
          </a:bodyPr>
          <a:lstStyle>
            <a:lvl1pPr algn="ctr">
              <a:lnSpc>
                <a:spcPts val="1112"/>
              </a:lnSpc>
              <a:spcBef>
                <a:spcPts val="0"/>
              </a:spcBef>
              <a:defRPr sz="838" b="1" i="0" cap="all" baseline="0">
                <a:solidFill>
                  <a:srgbClr val="55595C"/>
                </a:solidFill>
              </a:defRPr>
            </a:lvl1pPr>
            <a:lvl2pPr>
              <a:defRPr>
                <a:solidFill>
                  <a:srgbClr val="4C5052"/>
                </a:solidFill>
              </a:defRPr>
            </a:lvl2pPr>
            <a:lvl3pPr>
              <a:defRPr>
                <a:solidFill>
                  <a:srgbClr val="4C5052"/>
                </a:solidFill>
              </a:defRPr>
            </a:lvl3pPr>
            <a:lvl4pPr>
              <a:defRPr>
                <a:solidFill>
                  <a:srgbClr val="4C5052"/>
                </a:solidFill>
              </a:defRPr>
            </a:lvl4pPr>
            <a:lvl5pPr>
              <a:defRPr>
                <a:solidFill>
                  <a:srgbClr val="4C5052"/>
                </a:solidFill>
              </a:defRPr>
            </a:lvl5pPr>
          </a:lstStyle>
          <a:p>
            <a:pPr lvl="0"/>
            <a:r>
              <a:rPr lang="fr-FR"/>
              <a:t>Titre X</a:t>
            </a:r>
          </a:p>
        </p:txBody>
      </p:sp>
      <p:sp>
        <p:nvSpPr>
          <p:cNvPr id="59" name="Espace réservé du texte 40">
            <a:extLst>
              <a:ext uri="{FF2B5EF4-FFF2-40B4-BE49-F238E27FC236}">
                <a16:creationId xmlns:a16="http://schemas.microsoft.com/office/drawing/2014/main" id="{9B408096-8019-4256-9DD0-CA596C3C61C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5400000">
            <a:off x="386559" y="3524595"/>
            <a:ext cx="1257972" cy="1262645"/>
          </a:xfrm>
          <a:prstGeom prst="chevron">
            <a:avLst>
              <a:gd name="adj" fmla="val 11194"/>
            </a:avLst>
          </a:prstGeom>
          <a:solidFill>
            <a:schemeClr val="tx1"/>
          </a:solidFill>
        </p:spPr>
        <p:txBody>
          <a:bodyPr vert="vert270" lIns="144000" tIns="144000" bIns="144000">
            <a:noAutofit/>
          </a:bodyPr>
          <a:lstStyle>
            <a:lvl1pPr marL="0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0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0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 dirty="0"/>
              <a:t>Titre bloc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0" name="Espace réservé du texte 40">
            <a:extLst>
              <a:ext uri="{FF2B5EF4-FFF2-40B4-BE49-F238E27FC236}">
                <a16:creationId xmlns:a16="http://schemas.microsoft.com/office/drawing/2014/main" id="{83984DD9-E04A-41F4-B39D-981C06E0A11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>
            <a:off x="336513" y="4816051"/>
            <a:ext cx="1358064" cy="1262645"/>
          </a:xfrm>
          <a:prstGeom prst="chevron">
            <a:avLst>
              <a:gd name="adj" fmla="val 11030"/>
            </a:avLst>
          </a:prstGeom>
          <a:solidFill>
            <a:schemeClr val="tx1"/>
          </a:solidFill>
        </p:spPr>
        <p:txBody>
          <a:bodyPr vert="vert270" lIns="144000" tIns="144000" bIns="144000">
            <a:noAutofit/>
          </a:bodyPr>
          <a:lstStyle>
            <a:lvl1pPr marL="0">
              <a:lnSpc>
                <a:spcPts val="1197"/>
              </a:lnSpc>
              <a:defRPr sz="1026" b="1" cap="all" baseline="0">
                <a:solidFill>
                  <a:schemeClr val="bg1"/>
                </a:solidFill>
              </a:defRPr>
            </a:lvl1pPr>
            <a:lvl2pPr marL="0">
              <a:lnSpc>
                <a:spcPts val="1197"/>
              </a:lnSpc>
              <a:defRPr sz="838">
                <a:solidFill>
                  <a:schemeClr val="bg1"/>
                </a:solidFill>
              </a:defRPr>
            </a:lvl2pPr>
            <a:lvl3pPr marL="0" indent="0">
              <a:lnSpc>
                <a:spcPts val="855"/>
              </a:lnSpc>
              <a:buSzPct val="100000"/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3pPr>
            <a:lvl4pPr marL="123146">
              <a:defRPr/>
            </a:lvl4pPr>
          </a:lstStyle>
          <a:p>
            <a:pPr lvl="0"/>
            <a:r>
              <a:rPr lang="fr-FR" dirty="0"/>
              <a:t>Titre bloc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61" name="Espace réservé du texte 40">
            <a:extLst>
              <a:ext uri="{FF2B5EF4-FFF2-40B4-BE49-F238E27FC236}">
                <a16:creationId xmlns:a16="http://schemas.microsoft.com/office/drawing/2014/main" id="{84FDC979-B51A-4EA7-9260-80633CA9EA6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463452" y="1306219"/>
            <a:ext cx="1600709" cy="979302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62" name="Espace réservé du texte 40">
            <a:extLst>
              <a:ext uri="{FF2B5EF4-FFF2-40B4-BE49-F238E27FC236}">
                <a16:creationId xmlns:a16="http://schemas.microsoft.com/office/drawing/2014/main" id="{86D39722-1CAA-4347-9FAC-384C0202A0B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187711" y="1306219"/>
            <a:ext cx="1570840" cy="979302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63" name="Espace réservé du texte 40">
            <a:extLst>
              <a:ext uri="{FF2B5EF4-FFF2-40B4-BE49-F238E27FC236}">
                <a16:creationId xmlns:a16="http://schemas.microsoft.com/office/drawing/2014/main" id="{C7D3482E-8F96-4825-9333-AA48C9DA167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880741" y="1306219"/>
            <a:ext cx="1634608" cy="979302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64" name="Espace réservé du texte 40">
            <a:extLst>
              <a:ext uri="{FF2B5EF4-FFF2-40B4-BE49-F238E27FC236}">
                <a16:creationId xmlns:a16="http://schemas.microsoft.com/office/drawing/2014/main" id="{E535BE13-2314-482E-ABC4-04A91272B3A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737880" y="2388054"/>
            <a:ext cx="1600709" cy="1040948"/>
          </a:xfrm>
          <a:solidFill>
            <a:srgbClr val="EFF0F2"/>
          </a:solidFill>
        </p:spPr>
        <p:txBody>
          <a:bodyPr lIns="72000" tIns="72000" rIns="72000">
            <a:noAutofit/>
          </a:bodyPr>
          <a:lstStyle>
            <a:lvl1pPr marL="123146">
              <a:lnSpc>
                <a:spcPts val="1101"/>
              </a:lnSpc>
              <a:defRPr lang="fr-FR" sz="718" b="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23146">
              <a:lnSpc>
                <a:spcPts val="1101"/>
              </a:lnSpc>
              <a:defRPr sz="718"/>
            </a:lvl2pPr>
            <a:lvl3pPr marL="123146" indent="-123146">
              <a:lnSpc>
                <a:spcPts val="1101"/>
              </a:lnSpc>
              <a:buSzPct val="130000"/>
              <a:defRPr sz="718" b="0"/>
            </a:lvl3pPr>
            <a:lvl4pPr marL="123146">
              <a:defRPr/>
            </a:lvl4pPr>
          </a:lstStyle>
          <a:p>
            <a:pPr marL="123146" lvl="0" indent="0" algn="l" defTabSz="685783" rtl="0" eaLnBrk="1" latinLnBrk="0" hangingPunct="1">
              <a:lnSpc>
                <a:spcPts val="1101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5" name="Espace réservé du texte 40">
            <a:extLst>
              <a:ext uri="{FF2B5EF4-FFF2-40B4-BE49-F238E27FC236}">
                <a16:creationId xmlns:a16="http://schemas.microsoft.com/office/drawing/2014/main" id="{A925AE4E-E1E7-4C1F-B98C-CCF2B118636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62138" y="2388054"/>
            <a:ext cx="1600709" cy="1040948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 dirty="0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 dirty="0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 dirty="0"/>
              <a:t>Troisième niveau</a:t>
            </a:r>
          </a:p>
        </p:txBody>
      </p:sp>
      <p:sp>
        <p:nvSpPr>
          <p:cNvPr id="66" name="Espace réservé du texte 40">
            <a:extLst>
              <a:ext uri="{FF2B5EF4-FFF2-40B4-BE49-F238E27FC236}">
                <a16:creationId xmlns:a16="http://schemas.microsoft.com/office/drawing/2014/main" id="{D2CA4D9C-26CF-484A-AC86-6E813D48AAC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186395" y="2388054"/>
            <a:ext cx="1570840" cy="1040948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67" name="Espace réservé du texte 40">
            <a:extLst>
              <a:ext uri="{FF2B5EF4-FFF2-40B4-BE49-F238E27FC236}">
                <a16:creationId xmlns:a16="http://schemas.microsoft.com/office/drawing/2014/main" id="{41B6EFAE-D32F-449E-A5D1-1EC47C13911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879427" y="2388054"/>
            <a:ext cx="1634608" cy="1040948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68" name="Espace réservé du texte 40">
            <a:extLst>
              <a:ext uri="{FF2B5EF4-FFF2-40B4-BE49-F238E27FC236}">
                <a16:creationId xmlns:a16="http://schemas.microsoft.com/office/drawing/2014/main" id="{FC1FE660-C288-4009-A5BB-8F5D5AFEC42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739194" y="3526932"/>
            <a:ext cx="1600709" cy="1110356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69" name="Espace réservé du texte 40">
            <a:extLst>
              <a:ext uri="{FF2B5EF4-FFF2-40B4-BE49-F238E27FC236}">
                <a16:creationId xmlns:a16="http://schemas.microsoft.com/office/drawing/2014/main" id="{2A4ACD5E-5008-4C10-8F35-0D28E2FCB70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463452" y="3526932"/>
            <a:ext cx="1600709" cy="1110356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70" name="Espace réservé du texte 40">
            <a:extLst>
              <a:ext uri="{FF2B5EF4-FFF2-40B4-BE49-F238E27FC236}">
                <a16:creationId xmlns:a16="http://schemas.microsoft.com/office/drawing/2014/main" id="{F79C41CE-174F-4BDF-9D68-32F08D383C4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187711" y="3526932"/>
            <a:ext cx="1570840" cy="1110356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71" name="Espace réservé du texte 40">
            <a:extLst>
              <a:ext uri="{FF2B5EF4-FFF2-40B4-BE49-F238E27FC236}">
                <a16:creationId xmlns:a16="http://schemas.microsoft.com/office/drawing/2014/main" id="{EB19DC10-8D69-464A-811C-A3A656A88E4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880741" y="3526932"/>
            <a:ext cx="1634608" cy="1110356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72" name="Espace réservé du texte 40">
            <a:extLst>
              <a:ext uri="{FF2B5EF4-FFF2-40B4-BE49-F238E27FC236}">
                <a16:creationId xmlns:a16="http://schemas.microsoft.com/office/drawing/2014/main" id="{A5B2C47D-3A57-451E-AB8E-977093ED0CEA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739194" y="4768342"/>
            <a:ext cx="1600709" cy="1175163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73" name="Espace réservé du texte 40">
            <a:extLst>
              <a:ext uri="{FF2B5EF4-FFF2-40B4-BE49-F238E27FC236}">
                <a16:creationId xmlns:a16="http://schemas.microsoft.com/office/drawing/2014/main" id="{7273C6D4-BD76-4873-9108-A92AD903E82C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463452" y="4768342"/>
            <a:ext cx="1600709" cy="1175163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74" name="Espace réservé du texte 40">
            <a:extLst>
              <a:ext uri="{FF2B5EF4-FFF2-40B4-BE49-F238E27FC236}">
                <a16:creationId xmlns:a16="http://schemas.microsoft.com/office/drawing/2014/main" id="{728DB1A9-E4A3-4856-A15D-8247C0E3AA4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187711" y="4768342"/>
            <a:ext cx="1570840" cy="1175163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  <p:sp>
        <p:nvSpPr>
          <p:cNvPr id="75" name="Espace réservé du texte 40">
            <a:extLst>
              <a:ext uri="{FF2B5EF4-FFF2-40B4-BE49-F238E27FC236}">
                <a16:creationId xmlns:a16="http://schemas.microsoft.com/office/drawing/2014/main" id="{537738F5-9C98-4BA1-B243-43CC831F0C6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6880741" y="4768342"/>
            <a:ext cx="1634608" cy="1175163"/>
          </a:xfrm>
          <a:solidFill>
            <a:srgbClr val="EFF0F2"/>
          </a:solidFill>
        </p:spPr>
        <p:txBody>
          <a:bodyPr vert="horz" lIns="72000" tIns="72000" rIns="72000" bIns="0" rtlCol="0">
            <a:noAutofit/>
          </a:bodyPr>
          <a:lstStyle>
            <a:lvl1pPr>
              <a:defRPr lang="fr-FR" sz="718" b="0" baseline="0" smtClean="0"/>
            </a:lvl1pPr>
            <a:lvl2pPr>
              <a:defRPr lang="fr-FR" sz="718" smtClean="0"/>
            </a:lvl2pPr>
            <a:lvl3pPr>
              <a:defRPr lang="fr-FR" sz="718" b="0"/>
            </a:lvl3pPr>
          </a:lstStyle>
          <a:p>
            <a:pPr marL="123146" lvl="0">
              <a:lnSpc>
                <a:spcPts val="1101"/>
              </a:lnSpc>
            </a:pPr>
            <a:r>
              <a:rPr lang="fr-FR"/>
              <a:t>Modifiez les styles du texte du masque</a:t>
            </a:r>
          </a:p>
          <a:p>
            <a:pPr marL="123146" lvl="1">
              <a:lnSpc>
                <a:spcPts val="1101"/>
              </a:lnSpc>
            </a:pPr>
            <a:r>
              <a:rPr lang="fr-FR"/>
              <a:t>Deuxième niveau</a:t>
            </a:r>
          </a:p>
          <a:p>
            <a:pPr marL="123146" lvl="2" indent="-123146">
              <a:lnSpc>
                <a:spcPts val="1101"/>
              </a:lnSpc>
              <a:buSzPct val="130000"/>
            </a:pPr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433112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1079500" y="1308098"/>
            <a:ext cx="7780544" cy="508549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6267657" y="3458498"/>
            <a:ext cx="2592387" cy="2344993"/>
          </a:xfrm>
          <a:solidFill>
            <a:srgbClr val="EAEAEA"/>
          </a:solidFill>
        </p:spPr>
        <p:txBody>
          <a:bodyPr lIns="180000" tIns="180000" rIns="180000" bIns="180000">
            <a:noAutofit/>
          </a:bodyPr>
          <a:lstStyle>
            <a:lvl1pPr>
              <a:spcBef>
                <a:spcPts val="0"/>
              </a:spcBef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4426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hiffres clé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1079500" y="444500"/>
            <a:ext cx="7780544" cy="594909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851647" y="295836"/>
            <a:ext cx="152400" cy="842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3837" y="3016800"/>
            <a:ext cx="1706209" cy="2352504"/>
          </a:xfrm>
          <a:solidFill>
            <a:srgbClr val="EAEAEA"/>
          </a:solidFill>
        </p:spPr>
        <p:txBody>
          <a:bodyPr lIns="180000" tIns="108000" rIns="180000" bIns="108000" anchor="ctr" anchorCtr="1">
            <a:noAutofit/>
          </a:bodyPr>
          <a:lstStyle>
            <a:lvl1pPr>
              <a:spcBef>
                <a:spcPts val="1800"/>
              </a:spcBef>
              <a:defRPr sz="3600">
                <a:solidFill>
                  <a:schemeClr val="accent1"/>
                </a:solidFill>
              </a:defRPr>
            </a:lvl1pPr>
            <a:lvl2pPr>
              <a:lnSpc>
                <a:spcPct val="80000"/>
              </a:lnSpc>
              <a:spcBef>
                <a:spcPts val="0"/>
              </a:spcBef>
              <a:defRPr sz="12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5220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hiffres clé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287337" y="444500"/>
            <a:ext cx="8572707" cy="594909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851647" y="295836"/>
            <a:ext cx="152400" cy="842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3837" y="3016800"/>
            <a:ext cx="1706209" cy="2352504"/>
          </a:xfrm>
          <a:solidFill>
            <a:srgbClr val="EAEAEA"/>
          </a:solidFill>
        </p:spPr>
        <p:txBody>
          <a:bodyPr lIns="180000" tIns="108000" rIns="180000" bIns="108000" anchor="ctr" anchorCtr="1">
            <a:noAutofit/>
          </a:bodyPr>
          <a:lstStyle>
            <a:lvl1pPr>
              <a:spcBef>
                <a:spcPts val="1800"/>
              </a:spcBef>
              <a:defRPr sz="3600">
                <a:solidFill>
                  <a:schemeClr val="accent1"/>
                </a:solidFill>
              </a:defRPr>
            </a:lvl1pPr>
            <a:lvl2pPr>
              <a:lnSpc>
                <a:spcPct val="80000"/>
              </a:lnSpc>
              <a:spcBef>
                <a:spcPts val="0"/>
              </a:spcBef>
              <a:defRPr sz="12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8268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exergue +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3949200" y="2854800"/>
            <a:ext cx="4910843" cy="290818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6"/>
          </p:nvPr>
        </p:nvSpPr>
        <p:spPr>
          <a:xfrm>
            <a:off x="1079499" y="1308098"/>
            <a:ext cx="2592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7"/>
          </p:nvPr>
        </p:nvSpPr>
        <p:spPr>
          <a:xfrm>
            <a:off x="3160800" y="1846800"/>
            <a:ext cx="3096000" cy="661720"/>
          </a:xfrm>
          <a:solidFill>
            <a:srgbClr val="EAEAEA"/>
          </a:solidFill>
        </p:spPr>
        <p:txBody>
          <a:bodyPr lIns="180000" tIns="108000" rIns="180000" bIns="108000">
            <a:noAutofit/>
          </a:bodyPr>
          <a:lstStyle>
            <a:lvl1pPr>
              <a:defRPr sz="1200" cap="all" baseline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600" cap="all" baseline="0">
                <a:solidFill>
                  <a:schemeClr val="accent1"/>
                </a:solidFill>
              </a:defRPr>
            </a:lvl2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13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777C458-CF04-4CB7-9C95-8859ACBACF82}"/>
              </a:ext>
            </a:extLst>
          </p:cNvPr>
          <p:cNvSpPr/>
          <p:nvPr userDrawn="1"/>
        </p:nvSpPr>
        <p:spPr>
          <a:xfrm>
            <a:off x="107506" y="-1"/>
            <a:ext cx="9036495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6DFCC28-485D-4D5E-A263-C429F18B7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559" t="5278" b="11584"/>
          <a:stretch/>
        </p:blipFill>
        <p:spPr>
          <a:xfrm>
            <a:off x="1" y="-1"/>
            <a:ext cx="4585612" cy="6885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024216" y="2787790"/>
            <a:ext cx="5724248" cy="43088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defRPr sz="2800" b="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203848" y="3319123"/>
            <a:ext cx="3083859" cy="200055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110414" y="6316754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3CB5AB9-550D-4CCD-A326-5613FAE40A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92398" y="431029"/>
            <a:ext cx="3032767" cy="80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4191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499" y="1300163"/>
            <a:ext cx="7780544" cy="10112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/>
          </p:nvPr>
        </p:nvSpPr>
        <p:spPr>
          <a:xfrm>
            <a:off x="815788" y="2589163"/>
            <a:ext cx="5470712" cy="3254646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 hasCustomPrompt="1"/>
          </p:nvPr>
        </p:nvSpPr>
        <p:spPr>
          <a:xfrm>
            <a:off x="7125654" y="2880560"/>
            <a:ext cx="1734391" cy="70218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Bef>
                <a:spcPts val="1800"/>
              </a:spcBef>
              <a:defRPr sz="3600">
                <a:solidFill>
                  <a:schemeClr val="accent3"/>
                </a:solidFill>
              </a:defRPr>
            </a:lvl1pPr>
            <a:lvl2pPr>
              <a:lnSpc>
                <a:spcPct val="80000"/>
              </a:lnSpc>
              <a:spcBef>
                <a:spcPts val="0"/>
              </a:spcBef>
              <a:defRPr sz="12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1079500" y="2589163"/>
            <a:ext cx="5207001" cy="291396"/>
          </a:xfrm>
        </p:spPr>
        <p:txBody>
          <a:bodyPr/>
          <a:lstStyle>
            <a:lvl1pPr>
              <a:defRPr sz="14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0" y="6156000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8675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graphiqu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499" y="1300163"/>
            <a:ext cx="2358000" cy="435520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/>
          </p:nvPr>
        </p:nvSpPr>
        <p:spPr>
          <a:xfrm>
            <a:off x="3906278" y="1760623"/>
            <a:ext cx="2127487" cy="2793713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 hasCustomPrompt="1"/>
          </p:nvPr>
        </p:nvSpPr>
        <p:spPr>
          <a:xfrm>
            <a:off x="6485265" y="1300163"/>
            <a:ext cx="1734391" cy="70218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Bef>
                <a:spcPts val="1800"/>
              </a:spcBef>
              <a:defRPr sz="3600">
                <a:solidFill>
                  <a:schemeClr val="accent1"/>
                </a:solidFill>
              </a:defRPr>
            </a:lvl1pPr>
            <a:lvl2pPr>
              <a:lnSpc>
                <a:spcPct val="80000"/>
              </a:lnSpc>
              <a:spcBef>
                <a:spcPts val="0"/>
              </a:spcBef>
              <a:defRPr sz="1200" b="0" cap="all" baseline="0"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3906278" y="1300164"/>
            <a:ext cx="2127487" cy="272021"/>
          </a:xfrm>
        </p:spPr>
        <p:txBody>
          <a:bodyPr/>
          <a:lstStyle>
            <a:lvl1pPr>
              <a:defRPr sz="14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0" y="6156000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0113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0" y="4536001"/>
            <a:ext cx="7780545" cy="116405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5"/>
          </p:nvPr>
        </p:nvSpPr>
        <p:spPr>
          <a:xfrm>
            <a:off x="3783100" y="1671583"/>
            <a:ext cx="2365200" cy="2471586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15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1079498" y="1671583"/>
            <a:ext cx="2366641" cy="2471586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16" name="Espace réservé du graphique 3"/>
          <p:cNvSpPr>
            <a:spLocks noGrp="1"/>
          </p:cNvSpPr>
          <p:nvPr>
            <p:ph type="chart" sz="quarter" idx="17"/>
          </p:nvPr>
        </p:nvSpPr>
        <p:spPr>
          <a:xfrm>
            <a:off x="6485265" y="1671583"/>
            <a:ext cx="2366641" cy="2471586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9501" y="1300164"/>
            <a:ext cx="7780543" cy="272021"/>
          </a:xfrm>
        </p:spPr>
        <p:txBody>
          <a:bodyPr/>
          <a:lstStyle>
            <a:lvl1pPr>
              <a:defRPr sz="14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>
          <a:xfrm>
            <a:off x="1079500" y="6156000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 dirty="0"/>
              <a:t>Notes de bas de pag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61997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79500" y="6156000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8" name="Espace réservé du tableau 7"/>
          <p:cNvSpPr>
            <a:spLocks noGrp="1"/>
          </p:cNvSpPr>
          <p:nvPr>
            <p:ph type="tbl" sz="quarter" idx="15"/>
          </p:nvPr>
        </p:nvSpPr>
        <p:spPr>
          <a:xfrm>
            <a:off x="1080001" y="1308100"/>
            <a:ext cx="7776663" cy="4396014"/>
          </a:xfrm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4666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79500" y="6156000"/>
            <a:ext cx="7780545" cy="107722"/>
          </a:xfrm>
        </p:spPr>
        <p:txBody>
          <a:bodyPr>
            <a:spAutoFit/>
          </a:bodyPr>
          <a:lstStyle>
            <a:lvl1pPr>
              <a:defRPr sz="700" i="1"/>
            </a:lvl1pPr>
            <a:lvl5pPr>
              <a:defRPr/>
            </a:lvl5pPr>
          </a:lstStyle>
          <a:p>
            <a:pPr lvl="0"/>
            <a:r>
              <a:rPr lang="fr-FR"/>
              <a:t>Notes de bas de page</a:t>
            </a:r>
          </a:p>
        </p:txBody>
      </p:sp>
      <p:sp>
        <p:nvSpPr>
          <p:cNvPr id="8" name="Espace réservé du tableau 7"/>
          <p:cNvSpPr>
            <a:spLocks noGrp="1"/>
          </p:cNvSpPr>
          <p:nvPr>
            <p:ph type="tbl" sz="quarter" idx="15"/>
          </p:nvPr>
        </p:nvSpPr>
        <p:spPr>
          <a:xfrm>
            <a:off x="1080001" y="1615229"/>
            <a:ext cx="7776663" cy="1850517"/>
          </a:xfrm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  <p:sp>
        <p:nvSpPr>
          <p:cNvPr id="13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1079499" y="3892270"/>
            <a:ext cx="7777164" cy="2095837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1079501" y="1300164"/>
            <a:ext cx="7780543" cy="272021"/>
          </a:xfrm>
        </p:spPr>
        <p:txBody>
          <a:bodyPr/>
          <a:lstStyle>
            <a:lvl1pPr>
              <a:defRPr sz="14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8" hasCustomPrompt="1"/>
          </p:nvPr>
        </p:nvSpPr>
        <p:spPr>
          <a:xfrm>
            <a:off x="1070960" y="3574553"/>
            <a:ext cx="7785703" cy="272021"/>
          </a:xfrm>
        </p:spPr>
        <p:txBody>
          <a:bodyPr/>
          <a:lstStyle>
            <a:lvl1pPr>
              <a:defRPr sz="14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81322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ncadré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8058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3743365" y="2546582"/>
            <a:ext cx="2452808" cy="3329319"/>
          </a:xfrm>
          <a:solidFill>
            <a:srgbClr val="EAEAEA"/>
          </a:solidFill>
        </p:spPr>
        <p:txBody>
          <a:bodyPr lIns="180000" tIns="540000" rIns="180000"/>
          <a:lstStyle>
            <a:lvl1pPr algn="ctr">
              <a:spcBef>
                <a:spcPts val="600"/>
              </a:spcBef>
              <a:defRPr sz="1100"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Espace réservé du texte 11"/>
          <p:cNvSpPr>
            <a:spLocks noGrp="1"/>
          </p:cNvSpPr>
          <p:nvPr>
            <p:ph type="body" sz="quarter" idx="21"/>
          </p:nvPr>
        </p:nvSpPr>
        <p:spPr>
          <a:xfrm>
            <a:off x="6407235" y="2546582"/>
            <a:ext cx="2452808" cy="3329319"/>
          </a:xfrm>
          <a:solidFill>
            <a:srgbClr val="EAEAEA"/>
          </a:solidFill>
        </p:spPr>
        <p:txBody>
          <a:bodyPr lIns="180000" tIns="540000" rIns="180000"/>
          <a:lstStyle>
            <a:lvl1pPr algn="ctr">
              <a:spcBef>
                <a:spcPts val="600"/>
              </a:spcBef>
              <a:defRPr sz="1100"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1079499" y="2546582"/>
            <a:ext cx="2452808" cy="3329319"/>
          </a:xfrm>
          <a:solidFill>
            <a:srgbClr val="EAEAEA"/>
          </a:solidFill>
        </p:spPr>
        <p:txBody>
          <a:bodyPr lIns="180000" tIns="540000" rIns="180000"/>
          <a:lstStyle>
            <a:lvl1pPr algn="ctr">
              <a:spcBef>
                <a:spcPts val="600"/>
              </a:spcBef>
              <a:defRPr sz="1100" cap="all" baseline="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79501" y="1300164"/>
            <a:ext cx="7780543" cy="272021"/>
          </a:xfrm>
        </p:spPr>
        <p:txBody>
          <a:bodyPr/>
          <a:lstStyle>
            <a:lvl1pPr>
              <a:defRPr sz="1400" b="1" cap="all" baseline="0"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79502" y="1684310"/>
            <a:ext cx="2452805" cy="119949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72000" tIns="108000" rIns="72000" bIns="72000">
            <a:no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10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7" hasCustomPrompt="1"/>
          </p:nvPr>
        </p:nvSpPr>
        <p:spPr>
          <a:xfrm>
            <a:off x="6407239" y="1684310"/>
            <a:ext cx="2452805" cy="119949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108000" rIns="72000" bIns="72000">
            <a:no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10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 hasCustomPrompt="1"/>
          </p:nvPr>
        </p:nvSpPr>
        <p:spPr>
          <a:xfrm>
            <a:off x="3743368" y="1684310"/>
            <a:ext cx="2452805" cy="1199490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72000" tIns="108000" rIns="72000" bIns="72000">
            <a:no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100" cap="all" baseline="0">
                <a:solidFill>
                  <a:schemeClr val="bg1"/>
                </a:solidFill>
              </a:defRPr>
            </a:lvl2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7639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/>
          <p:cNvSpPr>
            <a:spLocks noGrp="1"/>
          </p:cNvSpPr>
          <p:nvPr>
            <p:ph type="body" sz="quarter" idx="18" hasCustomPrompt="1"/>
          </p:nvPr>
        </p:nvSpPr>
        <p:spPr>
          <a:xfrm>
            <a:off x="3671889" y="2581276"/>
            <a:ext cx="2013491" cy="2684036"/>
          </a:xfrm>
          <a:prstGeom prst="rect">
            <a:avLst/>
          </a:prstGeom>
          <a:solidFill>
            <a:srgbClr val="EAEAEA"/>
          </a:solidFill>
        </p:spPr>
        <p:txBody>
          <a:bodyPr wrap="square" lIns="180000" tIns="72000" rIns="180000" bIns="324000" anchor="ctr" anchorCtr="0">
            <a:no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3500" b="1">
                <a:solidFill>
                  <a:schemeClr val="accent1"/>
                </a:solidFill>
              </a:defRPr>
            </a:lvl1pPr>
            <a:lvl2pPr algn="l">
              <a:lnSpc>
                <a:spcPct val="85000"/>
              </a:lnSpc>
              <a:spcBef>
                <a:spcPts val="0"/>
              </a:spcBef>
              <a:defRPr sz="1100" b="0" cap="none" baseline="0">
                <a:solidFill>
                  <a:schemeClr val="tx1"/>
                </a:solidFill>
              </a:defRPr>
            </a:lvl2pPr>
            <a:lvl3pPr algn="l">
              <a:lnSpc>
                <a:spcPct val="85000"/>
              </a:lnSpc>
              <a:spcBef>
                <a:spcPts val="0"/>
              </a:spcBef>
              <a:defRPr sz="1000" b="0" cap="none" baseline="0">
                <a:solidFill>
                  <a:schemeClr val="tx1"/>
                </a:solidFill>
              </a:defRPr>
            </a:lvl3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object 13"/>
          <p:cNvSpPr/>
          <p:nvPr userDrawn="1"/>
        </p:nvSpPr>
        <p:spPr>
          <a:xfrm>
            <a:off x="1080001" y="6393593"/>
            <a:ext cx="8067675" cy="0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5" hasCustomPrompt="1"/>
          </p:nvPr>
        </p:nvSpPr>
        <p:spPr>
          <a:xfrm>
            <a:off x="3671889" y="1300164"/>
            <a:ext cx="2013491" cy="1638484"/>
          </a:xfrm>
          <a:custGeom>
            <a:avLst/>
            <a:gdLst>
              <a:gd name="connsiteX0" fmla="*/ 0 w 2452805"/>
              <a:gd name="connsiteY0" fmla="*/ 0 h 1199490"/>
              <a:gd name="connsiteX1" fmla="*/ 2452805 w 2452805"/>
              <a:gd name="connsiteY1" fmla="*/ 0 h 1199490"/>
              <a:gd name="connsiteX2" fmla="*/ 2452805 w 2452805"/>
              <a:gd name="connsiteY2" fmla="*/ 955118 h 1199490"/>
              <a:gd name="connsiteX3" fmla="*/ 1226402 w 2452805"/>
              <a:gd name="connsiteY3" fmla="*/ 1199490 h 1199490"/>
              <a:gd name="connsiteX4" fmla="*/ 0 w 2452805"/>
              <a:gd name="connsiteY4" fmla="*/ 955118 h 1199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2805" h="1199490">
                <a:moveTo>
                  <a:pt x="0" y="0"/>
                </a:moveTo>
                <a:lnTo>
                  <a:pt x="2452805" y="0"/>
                </a:lnTo>
                <a:lnTo>
                  <a:pt x="2452805" y="955118"/>
                </a:lnTo>
                <a:lnTo>
                  <a:pt x="1226402" y="1199490"/>
                </a:lnTo>
                <a:lnTo>
                  <a:pt x="0" y="95511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180000" tIns="72000" rIns="180000" bIns="324000" anchor="ctr" anchorCtr="0">
            <a:no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3500" b="1">
                <a:solidFill>
                  <a:schemeClr val="bg1"/>
                </a:solidFill>
              </a:defRPr>
            </a:lvl1pPr>
            <a:lvl2pPr algn="l">
              <a:lnSpc>
                <a:spcPct val="85000"/>
              </a:lnSpc>
              <a:spcBef>
                <a:spcPts val="0"/>
              </a:spcBef>
              <a:defRPr sz="1100" b="0" cap="none" baseline="0">
                <a:solidFill>
                  <a:schemeClr val="bg1"/>
                </a:solidFill>
              </a:defRPr>
            </a:lvl2pPr>
            <a:lvl3pPr algn="l">
              <a:lnSpc>
                <a:spcPct val="85000"/>
              </a:lnSpc>
              <a:spcBef>
                <a:spcPts val="0"/>
              </a:spcBef>
              <a:defRPr sz="1000" b="0" cap="none" baseline="0">
                <a:solidFill>
                  <a:schemeClr val="bg1"/>
                </a:solidFill>
              </a:defRPr>
            </a:lvl3pPr>
            <a:lvl5pPr>
              <a:defRPr/>
            </a:lvl5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7"/>
          </p:nvPr>
        </p:nvSpPr>
        <p:spPr>
          <a:xfrm>
            <a:off x="1080748" y="1263711"/>
            <a:ext cx="2208163" cy="4001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7" name="Espace réservé du texte 3"/>
          <p:cNvSpPr>
            <a:spLocks noGrp="1"/>
          </p:cNvSpPr>
          <p:nvPr>
            <p:ph type="body" sz="quarter" idx="19" hasCustomPrompt="1"/>
          </p:nvPr>
        </p:nvSpPr>
        <p:spPr>
          <a:xfrm>
            <a:off x="6068358" y="1263710"/>
            <a:ext cx="2797831" cy="707886"/>
          </a:xfrm>
        </p:spPr>
        <p:txBody>
          <a:bodyPr>
            <a:spAutoFit/>
          </a:bodyPr>
          <a:lstStyle>
            <a:lvl1pPr>
              <a:spcBef>
                <a:spcPts val="240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0"/>
              </a:spcBef>
              <a:defRPr sz="1000" b="0" cap="all" baseline="0"/>
            </a:lvl2pPr>
          </a:lstStyle>
          <a:p>
            <a:pPr lvl="0"/>
            <a:r>
              <a:rPr lang="fr-FR"/>
              <a:t>#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346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7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D6FB0DF-6D4E-4C55-B365-36C83FA82A1D}"/>
              </a:ext>
            </a:extLst>
          </p:cNvPr>
          <p:cNvSpPr/>
          <p:nvPr userDrawn="1"/>
        </p:nvSpPr>
        <p:spPr>
          <a:xfrm>
            <a:off x="8244408" y="6271341"/>
            <a:ext cx="720080" cy="542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bk object 16"/>
          <p:cNvSpPr/>
          <p:nvPr userDrawn="1"/>
        </p:nvSpPr>
        <p:spPr>
          <a:xfrm>
            <a:off x="287339" y="452438"/>
            <a:ext cx="8570211" cy="5942013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080001" y="860400"/>
            <a:ext cx="7400612" cy="4762518"/>
          </a:xfrm>
        </p:spPr>
        <p:txBody>
          <a:bodyPr/>
          <a:lstStyle>
            <a:lvl1pPr>
              <a:defRPr sz="1600" b="1" cap="all" baseline="0">
                <a:solidFill>
                  <a:schemeClr val="tx2"/>
                </a:solidFill>
              </a:defRPr>
            </a:lvl1pPr>
            <a:lvl2pPr algn="just">
              <a:lnSpc>
                <a:spcPct val="110000"/>
              </a:lnSpc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4833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k object 16"/>
          <p:cNvSpPr/>
          <p:nvPr userDrawn="1"/>
        </p:nvSpPr>
        <p:spPr>
          <a:xfrm>
            <a:off x="287339" y="452438"/>
            <a:ext cx="8570211" cy="5942013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grpSp>
        <p:nvGrpSpPr>
          <p:cNvPr id="11" name="Grouper 14"/>
          <p:cNvGrpSpPr/>
          <p:nvPr userDrawn="1"/>
        </p:nvGrpSpPr>
        <p:grpSpPr>
          <a:xfrm>
            <a:off x="3673643" y="5888702"/>
            <a:ext cx="880192" cy="271791"/>
            <a:chOff x="3645068" y="5888702"/>
            <a:chExt cx="880192" cy="271791"/>
          </a:xfrm>
        </p:grpSpPr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53469" y="5888702"/>
              <a:ext cx="271791" cy="271791"/>
            </a:xfrm>
            <a:prstGeom prst="ellipse">
              <a:avLst/>
            </a:prstGeom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5068" y="5914873"/>
              <a:ext cx="217871" cy="217871"/>
            </a:xfrm>
            <a:prstGeom prst="ellipse">
              <a:avLst/>
            </a:prstGeom>
          </p:spPr>
        </p:pic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9509" y="5913834"/>
              <a:ext cx="218868" cy="218869"/>
            </a:xfrm>
            <a:prstGeom prst="ellipse">
              <a:avLst/>
            </a:prstGeom>
          </p:spPr>
        </p:pic>
      </p:grp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665304" y="1281446"/>
            <a:ext cx="2726691" cy="769441"/>
          </a:xfrm>
        </p:spPr>
        <p:txBody>
          <a:bodyPr>
            <a:spAutoFit/>
          </a:bodyPr>
          <a:lstStyle>
            <a:lvl1pPr>
              <a:defRPr sz="1400" b="1" cap="all" baseline="0">
                <a:solidFill>
                  <a:schemeClr val="tx2"/>
                </a:solidFill>
              </a:defRPr>
            </a:lvl1pPr>
            <a:lvl2pPr>
              <a:defRPr sz="1200" b="0" cap="none">
                <a:solidFill>
                  <a:schemeClr val="tx1"/>
                </a:solidFill>
              </a:defRPr>
            </a:lvl2pPr>
            <a:lvl3pPr>
              <a:defRPr sz="1200" b="0" cap="none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3665304" y="4589352"/>
            <a:ext cx="2726691" cy="769441"/>
          </a:xfrm>
        </p:spPr>
        <p:txBody>
          <a:bodyPr>
            <a:spAutoFit/>
          </a:bodyPr>
          <a:lstStyle>
            <a:lvl1pPr>
              <a:defRPr sz="1400" b="1" cap="all" baseline="0">
                <a:solidFill>
                  <a:schemeClr val="tx2"/>
                </a:solidFill>
              </a:defRPr>
            </a:lvl1pPr>
            <a:lvl2pPr>
              <a:defRPr sz="1200" b="0" cap="none">
                <a:solidFill>
                  <a:schemeClr val="tx1"/>
                </a:solidFill>
              </a:defRPr>
            </a:lvl2pPr>
            <a:lvl3pPr>
              <a:defRPr sz="1200" b="0" cap="none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ZoneTexte 3"/>
          <p:cNvSpPr txBox="1"/>
          <p:nvPr userDrawn="1"/>
        </p:nvSpPr>
        <p:spPr>
          <a:xfrm>
            <a:off x="1067300" y="1213647"/>
            <a:ext cx="22501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3200" b="1" dirty="0">
                <a:solidFill>
                  <a:schemeClr val="tx1"/>
                </a:solidFill>
              </a:rPr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3872423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39263" y="404815"/>
            <a:ext cx="8065477" cy="5616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1382400" y="6524770"/>
            <a:ext cx="1008000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53ABEA-2583-4F44-BCD6-01F0E6F107C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383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image blan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56DFCC28-485D-4D5E-A263-C429F18B7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559" t="5278" b="11584"/>
          <a:stretch/>
        </p:blipFill>
        <p:spPr>
          <a:xfrm>
            <a:off x="1" y="-1"/>
            <a:ext cx="4585612" cy="6885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024216" y="2787790"/>
            <a:ext cx="5724248" cy="43088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defRPr sz="2800" b="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203848" y="3319123"/>
            <a:ext cx="3083859" cy="200055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3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110414" y="6316754"/>
            <a:ext cx="1726825" cy="138499"/>
          </a:xfrm>
        </p:spPr>
        <p:txBody>
          <a:bodyPr wrap="square">
            <a:spAutoFit/>
          </a:bodyPr>
          <a:lstStyle>
            <a:lvl1pPr algn="r">
              <a:defRPr sz="90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ENTION À REMPLIR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FA3C871-B813-4C9C-BF41-9868696E06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15698" y="431029"/>
            <a:ext cx="3032767" cy="80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50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27AC6F8-61D3-43A3-A3E2-166438F3D04B}"/>
              </a:ext>
            </a:extLst>
          </p:cNvPr>
          <p:cNvCxnSpPr>
            <a:cxnSpLocks/>
          </p:cNvCxnSpPr>
          <p:nvPr userDrawn="1"/>
        </p:nvCxnSpPr>
        <p:spPr>
          <a:xfrm flipV="1">
            <a:off x="3059832" y="1322766"/>
            <a:ext cx="0" cy="48065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C20DDBE0-5E2C-4CCC-A732-47E34BC6D3A4}"/>
              </a:ext>
            </a:extLst>
          </p:cNvPr>
          <p:cNvSpPr/>
          <p:nvPr userDrawn="1"/>
        </p:nvSpPr>
        <p:spPr>
          <a:xfrm>
            <a:off x="0" y="0"/>
            <a:ext cx="9144000" cy="13767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EB36787E-EB18-4302-A816-A31837FA77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68563" y="92778"/>
            <a:ext cx="1921933" cy="1241822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Forme libre : forme 17">
            <a:extLst>
              <a:ext uri="{FF2B5EF4-FFF2-40B4-BE49-F238E27FC236}">
                <a16:creationId xmlns:a16="http://schemas.microsoft.com/office/drawing/2014/main" id="{974C707E-8984-45E0-B839-62C6D0641D89}"/>
              </a:ext>
            </a:extLst>
          </p:cNvPr>
          <p:cNvSpPr/>
          <p:nvPr userDrawn="1"/>
        </p:nvSpPr>
        <p:spPr>
          <a:xfrm>
            <a:off x="2938829" y="80628"/>
            <a:ext cx="3265353" cy="1253972"/>
          </a:xfrm>
          <a:custGeom>
            <a:avLst/>
            <a:gdLst>
              <a:gd name="connsiteX0" fmla="*/ 1441450 w 1457424"/>
              <a:gd name="connsiteY0" fmla="*/ 37057 h 1671962"/>
              <a:gd name="connsiteX1" fmla="*/ 1441450 w 1457424"/>
              <a:gd name="connsiteY1" fmla="*/ 1671962 h 1671962"/>
              <a:gd name="connsiteX2" fmla="*/ 736699 w 1457424"/>
              <a:gd name="connsiteY2" fmla="*/ 1671962 h 1671962"/>
              <a:gd name="connsiteX3" fmla="*/ 1441450 w 1457424"/>
              <a:gd name="connsiteY3" fmla="*/ 0 h 1671962"/>
              <a:gd name="connsiteX4" fmla="*/ 1457424 w 1457424"/>
              <a:gd name="connsiteY4" fmla="*/ 0 h 1671962"/>
              <a:gd name="connsiteX5" fmla="*/ 1441450 w 1457424"/>
              <a:gd name="connsiteY5" fmla="*/ 37057 h 1671962"/>
              <a:gd name="connsiteX6" fmla="*/ 0 w 1457424"/>
              <a:gd name="connsiteY6" fmla="*/ 0 h 1671962"/>
              <a:gd name="connsiteX7" fmla="*/ 15974 w 1457424"/>
              <a:gd name="connsiteY7" fmla="*/ 0 h 1671962"/>
              <a:gd name="connsiteX8" fmla="*/ 736699 w 1457424"/>
              <a:gd name="connsiteY8" fmla="*/ 1671962 h 1671962"/>
              <a:gd name="connsiteX9" fmla="*/ 0 w 1457424"/>
              <a:gd name="connsiteY9" fmla="*/ 1671962 h 1671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57424" h="1671962">
                <a:moveTo>
                  <a:pt x="1441450" y="37057"/>
                </a:moveTo>
                <a:lnTo>
                  <a:pt x="1441450" y="1671962"/>
                </a:lnTo>
                <a:lnTo>
                  <a:pt x="736699" y="1671962"/>
                </a:lnTo>
                <a:close/>
                <a:moveTo>
                  <a:pt x="1441450" y="0"/>
                </a:moveTo>
                <a:lnTo>
                  <a:pt x="1457424" y="0"/>
                </a:lnTo>
                <a:lnTo>
                  <a:pt x="1441450" y="37057"/>
                </a:lnTo>
                <a:close/>
                <a:moveTo>
                  <a:pt x="0" y="0"/>
                </a:moveTo>
                <a:lnTo>
                  <a:pt x="15974" y="0"/>
                </a:lnTo>
                <a:lnTo>
                  <a:pt x="736699" y="1671962"/>
                </a:lnTo>
                <a:lnTo>
                  <a:pt x="0" y="16719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5FF056F-26BA-4AB5-9D29-3E5FB24B41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9" t="4622" r="3401" b="8797"/>
          <a:stretch/>
        </p:blipFill>
        <p:spPr>
          <a:xfrm>
            <a:off x="-1" y="6129300"/>
            <a:ext cx="9143993" cy="707460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C5442BB-E1D4-43BB-A983-EAC62438C8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9" y="1538790"/>
            <a:ext cx="2689290" cy="456017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Skill</a:t>
            </a:r>
            <a:r>
              <a:rPr lang="fr-FR" dirty="0"/>
              <a:t> Name</a:t>
            </a:r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8FA27D0A-CE8E-4D8F-8F1A-0E9BB3B9C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23862" y="1538790"/>
            <a:ext cx="5665621" cy="456017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149CC0D3-2C68-4039-9C80-A63141B900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4519" y="605368"/>
            <a:ext cx="3169343" cy="717398"/>
          </a:xfrm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u="none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err="1"/>
              <a:t>Prenom</a:t>
            </a:r>
            <a:endParaRPr lang="fr-FR" dirty="0"/>
          </a:p>
          <a:p>
            <a:pPr lvl="0"/>
            <a:r>
              <a:rPr lang="fr-FR" dirty="0"/>
              <a:t>Nom</a:t>
            </a:r>
          </a:p>
          <a:p>
            <a:pPr lvl="1"/>
            <a:r>
              <a:rPr lang="fr-FR" dirty="0"/>
              <a:t>Grade</a:t>
            </a:r>
          </a:p>
        </p:txBody>
      </p:sp>
      <p:sp>
        <p:nvSpPr>
          <p:cNvPr id="21" name="Organigramme : Procédé 20">
            <a:extLst>
              <a:ext uri="{FF2B5EF4-FFF2-40B4-BE49-F238E27FC236}">
                <a16:creationId xmlns:a16="http://schemas.microsoft.com/office/drawing/2014/main" id="{05CC44E6-FDDB-453C-B363-C5CA1E62A069}"/>
              </a:ext>
            </a:extLst>
          </p:cNvPr>
          <p:cNvSpPr/>
          <p:nvPr userDrawn="1"/>
        </p:nvSpPr>
        <p:spPr>
          <a:xfrm>
            <a:off x="5724129" y="80628"/>
            <a:ext cx="3265353" cy="1253972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/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0051E7E2-5F28-42FF-9941-1AB4D6AFD5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82962" y="92777"/>
            <a:ext cx="3169343" cy="717398"/>
          </a:xfrm>
        </p:spPr>
        <p:txBody>
          <a:bodyPr/>
          <a:lstStyle>
            <a:lvl1pPr>
              <a:spcBef>
                <a:spcPts val="15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u="none">
                <a:solidFill>
                  <a:schemeClr val="tx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err="1"/>
              <a:t>Who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are in a few </a:t>
            </a:r>
            <a:r>
              <a:rPr lang="fr-FR" dirty="0" err="1"/>
              <a:t>words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7D3E72A-D0F1-4676-828A-43348D50E6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9512" y="101256"/>
            <a:ext cx="1758929" cy="468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997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85CED7DC-2F47-464D-AAE7-E9EFCCF57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559" t="5278" b="11584"/>
          <a:stretch/>
        </p:blipFill>
        <p:spPr>
          <a:xfrm>
            <a:off x="5" y="-1"/>
            <a:ext cx="1835691" cy="6885433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D27AC6F8-61D3-43A3-A3E2-166438F3D04B}"/>
              </a:ext>
            </a:extLst>
          </p:cNvPr>
          <p:cNvCxnSpPr/>
          <p:nvPr userDrawn="1"/>
        </p:nvCxnSpPr>
        <p:spPr>
          <a:xfrm flipV="1">
            <a:off x="3635896" y="1322766"/>
            <a:ext cx="0" cy="55352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C5442BB-E1D4-43BB-A983-EAC62438C8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59632" y="1538790"/>
            <a:ext cx="2334773" cy="4560172"/>
          </a:xfrm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9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 marL="180000">
              <a:defRPr sz="9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Skill</a:t>
            </a:r>
            <a:r>
              <a:rPr lang="fr-FR" dirty="0"/>
              <a:t> Name</a:t>
            </a:r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8FA27D0A-CE8E-4D8F-8F1A-0E9BB3B9C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1920" y="1538790"/>
            <a:ext cx="5137563" cy="4560172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4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BADE52-7172-401F-A24E-A5B7F74D69BB}"/>
              </a:ext>
            </a:extLst>
          </p:cNvPr>
          <p:cNvSpPr/>
          <p:nvPr userDrawn="1"/>
        </p:nvSpPr>
        <p:spPr>
          <a:xfrm>
            <a:off x="0" y="0"/>
            <a:ext cx="9144000" cy="13767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9377AF1C-6BBC-4574-BC38-FE495D836E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9512" y="101256"/>
            <a:ext cx="1758929" cy="468459"/>
          </a:xfrm>
          <a:prstGeom prst="rect">
            <a:avLst/>
          </a:prstGeom>
        </p:spPr>
      </p:pic>
      <p:sp>
        <p:nvSpPr>
          <p:cNvPr id="23" name="Organigramme : Procédé 22">
            <a:extLst>
              <a:ext uri="{FF2B5EF4-FFF2-40B4-BE49-F238E27FC236}">
                <a16:creationId xmlns:a16="http://schemas.microsoft.com/office/drawing/2014/main" id="{81037A60-8E28-4F57-BE5E-F2CB3C58EAA6}"/>
              </a:ext>
            </a:extLst>
          </p:cNvPr>
          <p:cNvSpPr/>
          <p:nvPr userDrawn="1"/>
        </p:nvSpPr>
        <p:spPr>
          <a:xfrm>
            <a:off x="2499532" y="259632"/>
            <a:ext cx="4955538" cy="1074967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/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779159C0-509F-48AA-B9C6-78F825238C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4519" y="670970"/>
            <a:ext cx="2041217" cy="651795"/>
          </a:xfrm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u="none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err="1"/>
              <a:t>Prenom</a:t>
            </a:r>
            <a:r>
              <a:rPr lang="fr-FR" dirty="0"/>
              <a:t> Nom</a:t>
            </a:r>
          </a:p>
          <a:p>
            <a:pPr lvl="1"/>
            <a:r>
              <a:rPr lang="fr-FR" dirty="0"/>
              <a:t>Gra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744E92A-0E33-4ECF-9B96-5A346A14EB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68344" y="80628"/>
            <a:ext cx="1366837" cy="1241425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12F48F58-DA4B-435B-AFC0-DDC17D3A57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55787" y="260648"/>
            <a:ext cx="4862106" cy="1008111"/>
          </a:xfrm>
        </p:spPr>
        <p:txBody>
          <a:bodyPr/>
          <a:lstStyle>
            <a:lvl1pPr>
              <a:spcBef>
                <a:spcPts val="150"/>
              </a:spcBef>
              <a:defRPr sz="9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u="none">
                <a:solidFill>
                  <a:schemeClr val="tx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err="1"/>
              <a:t>Who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are in a few </a:t>
            </a:r>
            <a:r>
              <a:rPr lang="fr-FR" dirty="0" err="1"/>
              <a:t>word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609044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8FA27D0A-CE8E-4D8F-8F1A-0E9BB3B9C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503" y="1442968"/>
            <a:ext cx="2664297" cy="5328592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1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BADE52-7172-401F-A24E-A5B7F74D69BB}"/>
              </a:ext>
            </a:extLst>
          </p:cNvPr>
          <p:cNvSpPr/>
          <p:nvPr userDrawn="1"/>
        </p:nvSpPr>
        <p:spPr>
          <a:xfrm>
            <a:off x="0" y="0"/>
            <a:ext cx="9144000" cy="13767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744E92A-0E33-4ECF-9B96-5A346A14EB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84368" y="80628"/>
            <a:ext cx="1150813" cy="1188132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051C3E2-114E-4252-BDF2-44BADF01AB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43919" y="181219"/>
            <a:ext cx="3272297" cy="87151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56F939C-322C-4F84-B98E-EC72E20F6070}"/>
              </a:ext>
            </a:extLst>
          </p:cNvPr>
          <p:cNvSpPr/>
          <p:nvPr userDrawn="1"/>
        </p:nvSpPr>
        <p:spPr>
          <a:xfrm>
            <a:off x="1" y="1376762"/>
            <a:ext cx="2843808" cy="54812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l" defTabSz="685783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fr-FR" sz="1400" b="1" u="sng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0936B24C-54FC-4608-9229-DE2BDEB98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1013" y="1442968"/>
            <a:ext cx="6004168" cy="5328592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1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B0BD8E8-E5FD-4864-87FB-48F323A56AFA}"/>
              </a:ext>
            </a:extLst>
          </p:cNvPr>
          <p:cNvSpPr/>
          <p:nvPr userDrawn="1"/>
        </p:nvSpPr>
        <p:spPr>
          <a:xfrm>
            <a:off x="2843808" y="1376762"/>
            <a:ext cx="6300191" cy="54812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l" defTabSz="685783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fr-FR" sz="1400" b="1" u="sng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C9D03BFC-1D1B-46FE-A75E-6F1626B4E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3752" y="325234"/>
            <a:ext cx="2857261" cy="871518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600" u="none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Nom </a:t>
            </a:r>
            <a:r>
              <a:rPr lang="fr-FR" dirty="0" err="1"/>
              <a:t>Prenom</a:t>
            </a:r>
            <a:endParaRPr lang="fr-FR" dirty="0"/>
          </a:p>
          <a:p>
            <a:pPr lvl="1"/>
            <a:r>
              <a:rPr lang="fr-FR" dirty="0"/>
              <a:t>Grade</a:t>
            </a:r>
          </a:p>
        </p:txBody>
      </p:sp>
    </p:spTree>
    <p:extLst>
      <p:ext uri="{BB962C8B-B14F-4D97-AF65-F5344CB8AC3E}">
        <p14:creationId xmlns:p14="http://schemas.microsoft.com/office/powerpoint/2010/main" val="2449447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8FA27D0A-CE8E-4D8F-8F1A-0E9BB3B9C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503" y="1442968"/>
            <a:ext cx="2088233" cy="5328592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</a:defRPr>
            </a:lvl1pPr>
            <a:lvl2pPr algn="r">
              <a:spcBef>
                <a:spcPts val="500"/>
              </a:spcBef>
              <a:defRPr sz="11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 algn="r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Education &amp; </a:t>
            </a:r>
            <a:r>
              <a:rPr lang="fr-FR" dirty="0" err="1"/>
              <a:t>Skills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  <a:p>
            <a:pPr lvl="4"/>
            <a:endParaRPr lang="fr-FR" dirty="0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744E92A-0E33-4ECF-9B96-5A346A14EB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84368" y="80628"/>
            <a:ext cx="1150813" cy="1188132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0936B24C-54FC-4608-9229-DE2BDEB98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75245" y="1442968"/>
            <a:ext cx="6659936" cy="5394579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1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C9D03BFC-1D1B-46FE-A75E-6F1626B4E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3752" y="325234"/>
            <a:ext cx="2857261" cy="871518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600" u="none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Nom </a:t>
            </a:r>
            <a:r>
              <a:rPr lang="fr-FR" dirty="0" err="1"/>
              <a:t>Prenom</a:t>
            </a:r>
            <a:endParaRPr lang="fr-FR" dirty="0"/>
          </a:p>
          <a:p>
            <a:pPr lvl="1"/>
            <a:r>
              <a:rPr lang="fr-FR" dirty="0"/>
              <a:t>Grade</a:t>
            </a:r>
          </a:p>
        </p:txBody>
      </p:sp>
    </p:spTree>
    <p:extLst>
      <p:ext uri="{BB962C8B-B14F-4D97-AF65-F5344CB8AC3E}">
        <p14:creationId xmlns:p14="http://schemas.microsoft.com/office/powerpoint/2010/main" val="13230878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56F939C-322C-4F84-B98E-EC72E20F6070}"/>
              </a:ext>
            </a:extLst>
          </p:cNvPr>
          <p:cNvSpPr/>
          <p:nvPr userDrawn="1"/>
        </p:nvSpPr>
        <p:spPr>
          <a:xfrm>
            <a:off x="395537" y="0"/>
            <a:ext cx="2448272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l" defTabSz="685783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fr-FR" sz="1400" b="1" u="sng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8FA27D0A-CE8E-4D8F-8F1A-0E9BB3B9C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552" y="1385392"/>
            <a:ext cx="2195438" cy="5328592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1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0936B24C-54FC-4608-9229-DE2BDEB98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1013" y="1385392"/>
            <a:ext cx="6004168" cy="5386168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100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Main </a:t>
            </a:r>
            <a:r>
              <a:rPr lang="fr-FR" dirty="0" err="1"/>
              <a:t>Experience</a:t>
            </a:r>
            <a:endParaRPr lang="fr-FR" dirty="0"/>
          </a:p>
          <a:p>
            <a:pPr lvl="1"/>
            <a:r>
              <a:rPr lang="fr-FR" dirty="0" err="1"/>
              <a:t>Detail</a:t>
            </a:r>
            <a:endParaRPr lang="fr-FR" dirty="0"/>
          </a:p>
          <a:p>
            <a:pPr lvl="4"/>
            <a:r>
              <a:rPr lang="fr-FR" dirty="0" err="1"/>
              <a:t>Sub</a:t>
            </a:r>
            <a:r>
              <a:rPr lang="fr-FR" dirty="0"/>
              <a:t> </a:t>
            </a:r>
            <a:r>
              <a:rPr lang="fr-FR" dirty="0" err="1"/>
              <a:t>detail</a:t>
            </a:r>
            <a:endParaRPr lang="fr-FR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BADE52-7172-401F-A24E-A5B7F74D69BB}"/>
              </a:ext>
            </a:extLst>
          </p:cNvPr>
          <p:cNvSpPr/>
          <p:nvPr userDrawn="1"/>
        </p:nvSpPr>
        <p:spPr>
          <a:xfrm>
            <a:off x="0" y="260648"/>
            <a:ext cx="9144000" cy="86409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32000" lvl="0" algn="l"/>
            <a:endParaRPr lang="fr-FR" sz="2400" dirty="0">
              <a:solidFill>
                <a:schemeClr val="accent1"/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7441980-FEAF-49BA-B6F9-B881DE1C64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34974" y="404664"/>
            <a:ext cx="2162955" cy="576064"/>
          </a:xfrm>
          <a:prstGeom prst="rect">
            <a:avLst/>
          </a:prstGeom>
        </p:spPr>
      </p:pic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744E92A-0E33-4ECF-9B96-5A346A14EB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84368" y="80628"/>
            <a:ext cx="1150813" cy="118813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27B2A24B-FE0D-46E7-BBA6-503A4382CB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493" y="354762"/>
            <a:ext cx="2857261" cy="697974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defRPr sz="1600" u="none"/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Nom </a:t>
            </a:r>
            <a:r>
              <a:rPr lang="fr-FR" dirty="0" err="1"/>
              <a:t>Prenom</a:t>
            </a:r>
            <a:endParaRPr lang="fr-FR" dirty="0"/>
          </a:p>
          <a:p>
            <a:pPr lvl="1"/>
            <a:r>
              <a:rPr lang="fr-FR" dirty="0"/>
              <a:t>Grade</a:t>
            </a:r>
          </a:p>
        </p:txBody>
      </p:sp>
    </p:spTree>
    <p:extLst>
      <p:ext uri="{BB962C8B-B14F-4D97-AF65-F5344CB8AC3E}">
        <p14:creationId xmlns:p14="http://schemas.microsoft.com/office/powerpoint/2010/main" val="3115075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14553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3672001" y="836713"/>
            <a:ext cx="4808612" cy="5040560"/>
          </a:xfrm>
        </p:spPr>
        <p:txBody>
          <a:bodyPr/>
          <a:lstStyle>
            <a:lvl1pPr>
              <a:defRPr sz="1800" b="1" cap="all" baseline="0">
                <a:solidFill>
                  <a:schemeClr val="tx2"/>
                </a:solidFill>
              </a:defRPr>
            </a:lvl1pPr>
            <a:lvl2pPr marL="647984" indent="-287993">
              <a:lnSpc>
                <a:spcPct val="120000"/>
              </a:lnSpc>
              <a:spcBef>
                <a:spcPts val="2000"/>
              </a:spcBef>
              <a:buSzPct val="200000"/>
              <a:buFontTx/>
              <a:buBlip>
                <a:blip r:embed="rId6"/>
              </a:buBlip>
              <a:defRPr sz="2400" b="0" u="none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Chapter titl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EB41EB06-0054-4A19-8E9A-227FEB111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559" t="5278" b="11584"/>
          <a:stretch/>
        </p:blipFill>
        <p:spPr>
          <a:xfrm>
            <a:off x="1" y="-1"/>
            <a:ext cx="4585612" cy="688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6490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46655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k object 16"/>
          <p:cNvSpPr/>
          <p:nvPr userDrawn="1"/>
        </p:nvSpPr>
        <p:spPr>
          <a:xfrm>
            <a:off x="287339" y="452438"/>
            <a:ext cx="8570211" cy="5784873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3672001" y="836713"/>
            <a:ext cx="4808612" cy="5040560"/>
          </a:xfrm>
        </p:spPr>
        <p:txBody>
          <a:bodyPr/>
          <a:lstStyle>
            <a:lvl1pPr>
              <a:defRPr sz="1800" b="1" cap="all" baseline="0">
                <a:solidFill>
                  <a:schemeClr val="tx2"/>
                </a:solidFill>
              </a:defRPr>
            </a:lvl1pPr>
            <a:lvl2pPr>
              <a:lnSpc>
                <a:spcPct val="120000"/>
              </a:lnSpc>
              <a:defRPr sz="1400" b="0" u="none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8131506-4941-4B9C-B614-AD85F305AF1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38036" y="2060849"/>
            <a:ext cx="1977781" cy="20264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324DDCD-3BD5-486C-AD38-7A68B7388305}"/>
              </a:ext>
            </a:extLst>
          </p:cNvPr>
          <p:cNvSpPr/>
          <p:nvPr userDrawn="1"/>
        </p:nvSpPr>
        <p:spPr>
          <a:xfrm>
            <a:off x="8316416" y="6261546"/>
            <a:ext cx="652733" cy="5518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034968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51647" y="295836"/>
            <a:ext cx="152400" cy="842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8F3163D-0208-47C7-BACF-9FA16121C6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59"/>
          <a:stretch/>
        </p:blipFill>
        <p:spPr>
          <a:xfrm>
            <a:off x="1" y="823177"/>
            <a:ext cx="3797916" cy="2362205"/>
          </a:xfrm>
          <a:prstGeom prst="rect">
            <a:avLst/>
          </a:prstGeom>
        </p:spPr>
      </p:pic>
      <p:sp>
        <p:nvSpPr>
          <p:cNvPr id="9" name="bk object 16"/>
          <p:cNvSpPr/>
          <p:nvPr userDrawn="1"/>
        </p:nvSpPr>
        <p:spPr>
          <a:xfrm>
            <a:off x="3672001" y="295836"/>
            <a:ext cx="5194188" cy="5941477"/>
          </a:xfrm>
          <a:custGeom>
            <a:avLst/>
            <a:gdLst/>
            <a:ahLst/>
            <a:cxnLst/>
            <a:rect l="l" t="t" r="r" b="b"/>
            <a:pathLst>
              <a:path w="8571865" h="5781675">
                <a:moveTo>
                  <a:pt x="0" y="5781598"/>
                </a:moveTo>
                <a:lnTo>
                  <a:pt x="8571598" y="5781598"/>
                </a:lnTo>
                <a:lnTo>
                  <a:pt x="8571598" y="0"/>
                </a:lnTo>
                <a:lnTo>
                  <a:pt x="0" y="0"/>
                </a:lnTo>
                <a:lnTo>
                  <a:pt x="0" y="5781598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4647600" y="865504"/>
            <a:ext cx="3886800" cy="4762518"/>
          </a:xfrm>
        </p:spPr>
        <p:txBody>
          <a:bodyPr>
            <a:noAutofit/>
          </a:bodyPr>
          <a:lstStyle>
            <a:lvl1pPr>
              <a:spcBef>
                <a:spcPts val="2800"/>
              </a:spcBef>
              <a:defRPr sz="1600" b="1" cap="all" baseline="0">
                <a:solidFill>
                  <a:schemeClr val="tx2"/>
                </a:solidFill>
              </a:defRPr>
            </a:lvl1pPr>
            <a:lvl2pPr>
              <a:lnSpc>
                <a:spcPct val="120000"/>
              </a:lnSpc>
              <a:defRPr sz="1400" b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>
          <a:xfrm>
            <a:off x="457099" y="1740173"/>
            <a:ext cx="2052000" cy="430887"/>
          </a:xfrm>
        </p:spPr>
        <p:txBody>
          <a:bodyPr wrap="square">
            <a:spAutoFit/>
          </a:bodyPr>
          <a:lstStyle>
            <a:lvl1pPr>
              <a:defRPr sz="2800" b="1" cap="all" baseline="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2" name="Espace réservé du texte 3"/>
          <p:cNvSpPr>
            <a:spLocks noGrp="1"/>
          </p:cNvSpPr>
          <p:nvPr>
            <p:ph type="body" sz="quarter" idx="15" hasCustomPrompt="1"/>
          </p:nvPr>
        </p:nvSpPr>
        <p:spPr>
          <a:xfrm>
            <a:off x="4165201" y="764704"/>
            <a:ext cx="511091" cy="707886"/>
          </a:xfrm>
        </p:spPr>
        <p:txBody>
          <a:bodyPr wrap="square">
            <a:spAutoFit/>
          </a:bodyPr>
          <a:lstStyle>
            <a:lvl1pPr>
              <a:defRPr sz="4600" b="0" cap="all" baseline="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993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67146" y="367844"/>
            <a:ext cx="176463" cy="612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AC5288E-4CD3-41AC-A67B-FC69995AAB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59"/>
          <a:stretch/>
        </p:blipFill>
        <p:spPr>
          <a:xfrm>
            <a:off x="0" y="823177"/>
            <a:ext cx="4355976" cy="2362205"/>
          </a:xfrm>
          <a:prstGeom prst="rect">
            <a:avLst/>
          </a:pr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3693138" y="4273201"/>
            <a:ext cx="4841263" cy="284630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800" b="0" cap="none" baseline="0">
                <a:solidFill>
                  <a:schemeClr val="accent1"/>
                </a:solidFill>
              </a:defRPr>
            </a:lvl1pPr>
            <a:lvl2pPr>
              <a:lnSpc>
                <a:spcPct val="120000"/>
              </a:lnSpc>
              <a:defRPr sz="1400" b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>
          <a:xfrm>
            <a:off x="971600" y="1104977"/>
            <a:ext cx="855115" cy="1615827"/>
          </a:xfrm>
        </p:spPr>
        <p:txBody>
          <a:bodyPr wrap="square">
            <a:spAutoFit/>
          </a:bodyPr>
          <a:lstStyle>
            <a:lvl1pPr algn="r">
              <a:defRPr sz="10500" b="1" cap="all" baseline="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672001" y="1213200"/>
            <a:ext cx="4212443" cy="1384995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3000" b="0" cap="all" baseline="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object 6"/>
          <p:cNvSpPr/>
          <p:nvPr userDrawn="1"/>
        </p:nvSpPr>
        <p:spPr>
          <a:xfrm>
            <a:off x="3693137" y="4048958"/>
            <a:ext cx="430531" cy="72390"/>
          </a:xfrm>
          <a:custGeom>
            <a:avLst/>
            <a:gdLst/>
            <a:ahLst/>
            <a:cxnLst/>
            <a:rect l="l" t="t" r="r" b="b"/>
            <a:pathLst>
              <a:path w="430529" h="72389">
                <a:moveTo>
                  <a:pt x="0" y="71996"/>
                </a:moveTo>
                <a:lnTo>
                  <a:pt x="430402" y="71996"/>
                </a:lnTo>
                <a:lnTo>
                  <a:pt x="430402" y="0"/>
                </a:lnTo>
                <a:lnTo>
                  <a:pt x="0" y="0"/>
                </a:lnTo>
                <a:lnTo>
                  <a:pt x="0" y="7199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0321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89295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1" y="1300164"/>
            <a:ext cx="7780543" cy="435768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48146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223838" y="414339"/>
            <a:ext cx="591951" cy="338554"/>
          </a:xfrm>
        </p:spPr>
        <p:txBody>
          <a:bodyPr>
            <a:spAutoFit/>
          </a:bodyPr>
          <a:lstStyle>
            <a:lvl1pPr algn="ctr"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1079501" y="1299601"/>
            <a:ext cx="7262599" cy="708494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4921599" y="2280253"/>
            <a:ext cx="3420500" cy="346248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1079501" y="2280253"/>
            <a:ext cx="3420500" cy="346248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nical Implementation Committee #2</a:t>
            </a:r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7519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32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3.xml"/><Relationship Id="rId9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7515713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1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080001" y="414000"/>
            <a:ext cx="7780043" cy="60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80001" y="1306800"/>
            <a:ext cx="778004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11" name="object 13"/>
          <p:cNvSpPr/>
          <p:nvPr/>
        </p:nvSpPr>
        <p:spPr>
          <a:xfrm rot="16200000">
            <a:off x="817179" y="564279"/>
            <a:ext cx="525642" cy="262621"/>
          </a:xfrm>
          <a:custGeom>
            <a:avLst/>
            <a:gdLst/>
            <a:ahLst/>
            <a:cxnLst/>
            <a:rect l="l" t="t" r="r" b="b"/>
            <a:pathLst>
              <a:path w="8067675">
                <a:moveTo>
                  <a:pt x="0" y="0"/>
                </a:moveTo>
                <a:lnTo>
                  <a:pt x="8067593" y="0"/>
                </a:lnTo>
              </a:path>
            </a:pathLst>
          </a:custGeom>
          <a:ln w="6350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0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448000" y="6524770"/>
            <a:ext cx="5004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 b="0" cap="none" baseline="0">
                <a:solidFill>
                  <a:srgbClr val="7F7F7F"/>
                </a:solidFill>
              </a:defRPr>
            </a:lvl1pPr>
          </a:lstStyle>
          <a:p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80000" y="6524770"/>
            <a:ext cx="1908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 b="1" cap="all" baseline="0">
                <a:solidFill>
                  <a:schemeClr val="tx2"/>
                </a:solidFill>
              </a:defRPr>
            </a:lvl1pPr>
          </a:lstStyle>
          <a:p>
            <a:fld id="{4F985FF9-ADA8-465B-B1B8-A5AF16A5E14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382400" y="6524770"/>
            <a:ext cx="10080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800" b="0" cap="all" baseline="0" smtClean="0">
                <a:solidFill>
                  <a:srgbClr val="7F7F7F"/>
                </a:solidFill>
              </a:defRPr>
            </a:lvl1pPr>
          </a:lstStyle>
          <a:p>
            <a:endParaRPr lang="fr-FR"/>
          </a:p>
        </p:txBody>
      </p: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1E4B9186-D1DC-4B30-BB3C-3F9D79EB1135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8419229" y="6309321"/>
            <a:ext cx="440815" cy="45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28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839" r:id="rId2"/>
    <p:sldLayoutId id="2147483841" r:id="rId3"/>
    <p:sldLayoutId id="2147483842" r:id="rId4"/>
    <p:sldLayoutId id="2147483843" r:id="rId5"/>
    <p:sldLayoutId id="2147483657" r:id="rId6"/>
    <p:sldLayoutId id="2147483658" r:id="rId7"/>
    <p:sldLayoutId id="2147483655" r:id="rId8"/>
    <p:sldLayoutId id="2147483659" r:id="rId9"/>
    <p:sldLayoutId id="2147483845" r:id="rId10"/>
    <p:sldLayoutId id="2147483660" r:id="rId11"/>
    <p:sldLayoutId id="2147483661" r:id="rId12"/>
    <p:sldLayoutId id="2147483662" r:id="rId13"/>
    <p:sldLayoutId id="2147483847" r:id="rId14"/>
    <p:sldLayoutId id="2147483848" r:id="rId15"/>
    <p:sldLayoutId id="2147483663" r:id="rId16"/>
    <p:sldLayoutId id="2147483664" r:id="rId17"/>
    <p:sldLayoutId id="2147483665" r:id="rId18"/>
    <p:sldLayoutId id="2147483666" r:id="rId19"/>
    <p:sldLayoutId id="2147483676" r:id="rId20"/>
    <p:sldLayoutId id="2147483667" r:id="rId21"/>
    <p:sldLayoutId id="2147483668" r:id="rId22"/>
    <p:sldLayoutId id="2147483669" r:id="rId23"/>
    <p:sldLayoutId id="2147483670" r:id="rId24"/>
    <p:sldLayoutId id="2147483671" r:id="rId25"/>
    <p:sldLayoutId id="2147483673" r:id="rId26"/>
    <p:sldLayoutId id="2147483674" r:id="rId27"/>
    <p:sldLayoutId id="2147483675" r:id="rId28"/>
    <p:sldLayoutId id="2147483838" r:id="rId29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000" b="1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0" indent="0" algn="l" defTabSz="685783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700" b="1" u="sng" kern="120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685783" rtl="0" eaLnBrk="1" latinLnBrk="0" hangingPunct="1">
        <a:lnSpc>
          <a:spcPct val="100000"/>
        </a:lnSpc>
        <a:spcBef>
          <a:spcPts val="1600"/>
        </a:spcBef>
        <a:buFont typeface="Arial" panose="020B0604020202020204" pitchFamily="34" charset="0"/>
        <a:buNone/>
        <a:defRPr sz="1400" b="1" kern="1200" cap="all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49989" indent="-179996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00000"/>
        <a:buFont typeface="Wingdings 3" panose="05040102010807070707" pitchFamily="18" charset="2"/>
        <a:buChar char="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83186" indent="-179996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0000"/>
        <a:buFont typeface="Wingdings" panose="05000000000000000000" pitchFamily="2" charset="2"/>
        <a:buChar char="q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9" userDrawn="1">
          <p15:clr>
            <a:srgbClr val="F26B43"/>
          </p15:clr>
        </p15:guide>
        <p15:guide id="2" pos="679" userDrawn="1">
          <p15:clr>
            <a:srgbClr val="F26B43"/>
          </p15:clr>
        </p15:guide>
        <p15:guide id="3" pos="5585" userDrawn="1">
          <p15:clr>
            <a:srgbClr val="F26B43"/>
          </p15:clr>
        </p15:guide>
        <p15:guide id="5" orient="horz" pos="41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7503410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9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080001" y="414000"/>
            <a:ext cx="7780043" cy="60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80001" y="1306800"/>
            <a:ext cx="778004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53531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4" r:id="rId4"/>
    <p:sldLayoutId id="2147483853" r:id="rId5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000" b="1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0" indent="0" algn="l" defTabSz="685783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700" b="1" u="sng" kern="120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685783" rtl="0" eaLnBrk="1" latinLnBrk="0" hangingPunct="1">
        <a:lnSpc>
          <a:spcPct val="100000"/>
        </a:lnSpc>
        <a:spcBef>
          <a:spcPts val="1600"/>
        </a:spcBef>
        <a:buFont typeface="Arial" panose="020B0604020202020204" pitchFamily="34" charset="0"/>
        <a:buNone/>
        <a:defRPr sz="1400" b="1" kern="1200" cap="all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83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49989" indent="-179996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00000"/>
        <a:buFont typeface="Wingdings 3" panose="05040102010807070707" pitchFamily="18" charset="2"/>
        <a:buChar char="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83186" indent="-179996" algn="l" defTabSz="685783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0000"/>
        <a:buFont typeface="Wingdings" panose="05000000000000000000" pitchFamily="2" charset="2"/>
        <a:buChar char="q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9">
          <p15:clr>
            <a:srgbClr val="F26B43"/>
          </p15:clr>
        </p15:guide>
        <p15:guide id="2" pos="679">
          <p15:clr>
            <a:srgbClr val="F26B43"/>
          </p15:clr>
        </p15:guide>
        <p15:guide id="3" pos="5585">
          <p15:clr>
            <a:srgbClr val="F26B43"/>
          </p15:clr>
        </p15:guide>
        <p15:guide id="5" orient="horz" pos="41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3.xml"/><Relationship Id="rId9" Type="http://schemas.openxmlformats.org/officeDocument/2006/relationships/comments" Target="../comments/commen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552D28B-FD46-4DEA-ABA1-CDD4D71A6D69}"/>
              </a:ext>
            </a:extLst>
          </p:cNvPr>
          <p:cNvSpPr/>
          <p:nvPr/>
        </p:nvSpPr>
        <p:spPr>
          <a:xfrm>
            <a:off x="0" y="-23813"/>
            <a:ext cx="6797758" cy="8108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ctr"/>
          <a:lstStyle/>
          <a:p>
            <a:pPr marL="1257300"/>
            <a:endParaRPr lang="fr-FR" sz="1100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4F98CC-BEEA-43AC-BFC7-EEFC86C4F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867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79512" y="923306"/>
            <a:ext cx="12682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9512" y="2303294"/>
            <a:ext cx="11045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PROJETS</a:t>
            </a:r>
          </a:p>
        </p:txBody>
      </p:sp>
      <p:cxnSp>
        <p:nvCxnSpPr>
          <p:cNvPr id="28" name="Straight Connector 27"/>
          <p:cNvCxnSpPr>
            <a:stCxn id="11" idx="3"/>
          </p:cNvCxnSpPr>
          <p:nvPr/>
        </p:nvCxnSpPr>
        <p:spPr>
          <a:xfrm>
            <a:off x="1447808" y="1054111"/>
            <a:ext cx="74471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1115616" y="2434099"/>
            <a:ext cx="768065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781" name="Picture 5" descr="D:\1000. BGE\VF\46203-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928" y="174485"/>
            <a:ext cx="1934552" cy="515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6263B77-17BA-434E-BA3D-A8AADEEDFDEA}"/>
              </a:ext>
            </a:extLst>
          </p:cNvPr>
          <p:cNvSpPr txBox="1"/>
          <p:nvPr/>
        </p:nvSpPr>
        <p:spPr>
          <a:xfrm>
            <a:off x="1078490" y="74444"/>
            <a:ext cx="57192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140075" algn="l"/>
              </a:tabLst>
            </a:pPr>
            <a:r>
              <a:rPr lang="fr-FR" sz="1200" dirty="0" err="1">
                <a:solidFill>
                  <a:schemeClr val="bg1"/>
                </a:solidFill>
              </a:rPr>
              <a:t>Fanirisoa</a:t>
            </a:r>
            <a:endParaRPr lang="fr-FR" sz="1200" dirty="0">
              <a:solidFill>
                <a:schemeClr val="bg1"/>
              </a:solidFill>
            </a:endParaRPr>
          </a:p>
          <a:p>
            <a:pPr>
              <a:tabLst>
                <a:tab pos="2509838" algn="l"/>
              </a:tabLst>
            </a:pPr>
            <a:r>
              <a:rPr lang="fr-FR" sz="1200" dirty="0">
                <a:solidFill>
                  <a:schemeClr val="bg1"/>
                </a:solidFill>
              </a:rPr>
              <a:t>Consultant Senior, </a:t>
            </a:r>
            <a:r>
              <a:rPr lang="fr-FR" sz="1200" dirty="0" err="1">
                <a:solidFill>
                  <a:schemeClr val="bg1"/>
                </a:solidFill>
              </a:rPr>
              <a:t>PhD</a:t>
            </a:r>
            <a:r>
              <a:rPr lang="fr-FR" sz="1200" dirty="0">
                <a:solidFill>
                  <a:schemeClr val="bg1"/>
                </a:solidFill>
              </a:rPr>
              <a:t>	</a:t>
            </a:r>
            <a:r>
              <a:rPr lang="fr-FR" sz="1200" b="1" dirty="0">
                <a:solidFill>
                  <a:schemeClr val="bg1"/>
                </a:solidFill>
              </a:rPr>
              <a:t>Risk management | Quantitatif</a:t>
            </a:r>
          </a:p>
          <a:p>
            <a:pPr>
              <a:tabLst>
                <a:tab pos="3140075" algn="l"/>
              </a:tabLst>
            </a:pPr>
            <a:r>
              <a:rPr lang="fr-FR" sz="1200" dirty="0">
                <a:solidFill>
                  <a:schemeClr val="bg1"/>
                </a:solidFill>
              </a:rPr>
              <a:t>6 ans d’expérience</a:t>
            </a:r>
          </a:p>
        </p:txBody>
      </p:sp>
      <p:sp>
        <p:nvSpPr>
          <p:cNvPr id="21" name="Espace réservé du texte 11">
            <a:extLst>
              <a:ext uri="{FF2B5EF4-FFF2-40B4-BE49-F238E27FC236}">
                <a16:creationId xmlns:a16="http://schemas.microsoft.com/office/drawing/2014/main" id="{1E96737E-5F58-4185-A7FB-24E022B012F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81994" y="2564904"/>
            <a:ext cx="8510486" cy="403244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r" defTabSz="685783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b="1" u="sng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400" b="1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449989" indent="-179996" algn="r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 3" panose="05040102010807070707" pitchFamily="18" charset="2"/>
              <a:buChar char=""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83186" indent="-179996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q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fr-FR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tist</a:t>
            </a: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Machine </a:t>
            </a:r>
            <a:r>
              <a:rPr lang="fr-FR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ineer</a:t>
            </a:r>
            <a:endParaRPr lang="fr-FR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b="0" dirty="0">
                <a:latin typeface="Arial" panose="020B0604020202020204" pitchFamily="34" charset="0"/>
                <a:cs typeface="Arial" panose="020B0604020202020204" pitchFamily="34" charset="0"/>
              </a:rPr>
              <a:t>La Banque Postale / Groupe La Poste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 / Machine Learning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fr-FR" sz="900" b="0" u="sng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èles de ML pour l’analyse et le </a:t>
            </a:r>
            <a:r>
              <a:rPr lang="fr-FR" sz="9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ing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’attrition, la segmentation et profilage des clients Pro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tion de modèle ML pour la 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ion de fraude à la carte bancaire 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la problématique de  la disparité des données. 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ation et modélisation du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place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Groupe la poste (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ation des interactions, valorisation des prix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èle ML pour la gestion d'approvisionnement et la 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vision des stock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sation du système de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ain en utilisant des modélisations de données à base de graphe et machine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fr-FR" sz="900" b="0" u="sng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ation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éation de Dashboard, et KPI permettant de: </a:t>
            </a:r>
          </a:p>
          <a:p>
            <a:pPr marL="358775" indent="-171450" algn="l">
              <a:spcBef>
                <a:spcPct val="0"/>
              </a:spcBef>
              <a:buClr>
                <a:schemeClr val="bg2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er l’attrition des différents produits commercialisés</a:t>
            </a:r>
          </a:p>
          <a:p>
            <a:pPr marL="358775" indent="-171450" algn="l">
              <a:spcBef>
                <a:spcPct val="0"/>
              </a:spcBef>
              <a:buClr>
                <a:schemeClr val="bg2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vre les offres marketings promotionnelles et gérer les campagnes</a:t>
            </a:r>
          </a:p>
          <a:p>
            <a:pPr marL="358775" indent="-171450" algn="l">
              <a:spcBef>
                <a:spcPct val="0"/>
              </a:spcBef>
              <a:buClr>
                <a:schemeClr val="bg2"/>
              </a:buClr>
              <a:buSzPct val="100000"/>
              <a:buFont typeface="Courier New" panose="02070309020205020404" pitchFamily="49" charset="0"/>
              <a:buChar char="o"/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tecture technique des différents outils du </a:t>
            </a:r>
            <a:r>
              <a:rPr lang="fr-FR" sz="900" b="0" u="sng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lake</a:t>
            </a: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oupe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veloppement et déploiement des nouvelles fonctionnalités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ion des outils (Zeppelin,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iku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ableau) et traitement des incidents,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 et réalisation des campagnes de tests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fr-FR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tist</a:t>
            </a: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Economiste</a:t>
            </a:r>
          </a:p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b="0" dirty="0">
                <a:latin typeface="Arial" panose="020B0604020202020204" pitchFamily="34" charset="0"/>
                <a:cs typeface="Arial" panose="020B0604020202020204" pitchFamily="34" charset="0"/>
              </a:rPr>
              <a:t>Western Union / IRD (Institut de recherche pour le développement)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fr-FR" sz="900" b="0" u="sng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ation et profilage des clients dans le but d’effectuer des ciblages de niche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aboration de modèles prédictifs et des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ings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pour des actions marketing et commerciales.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anagement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e des données pertinentes liées aux flux de transaction financiers, 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éation et mise en qualité d’une base de données sur les flux financiers et les transferts monétaires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Espace réservé du texte 11">
            <a:extLst>
              <a:ext uri="{FF2B5EF4-FFF2-40B4-BE49-F238E27FC236}">
                <a16:creationId xmlns:a16="http://schemas.microsoft.com/office/drawing/2014/main" id="{F92FE875-AD3A-4972-9313-E3FD5EBD45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993" y="1209965"/>
            <a:ext cx="3016885" cy="1138915"/>
          </a:xfrm>
          <a:noFill/>
          <a:ln>
            <a:noFill/>
          </a:ln>
        </p:spPr>
        <p:txBody>
          <a:bodyPr numCol="1"/>
          <a:lstStyle/>
          <a:p>
            <a:pPr algn="l">
              <a:spcBef>
                <a:spcPts val="0"/>
              </a:spcBef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ion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at en Mathématiques appliquées &amp; informatiques </a:t>
            </a:r>
            <a:b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é Paris 1 Panthéon-Sorbonne  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at en Economie &amp; Finance </a:t>
            </a:r>
            <a:b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é de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’Foscari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nise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II – Modélisation et Méthodes Math. en Economie et Finance</a:t>
            </a:r>
            <a:b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é Paris 1 Panthéon-Sorbonne / ENSTA</a:t>
            </a:r>
          </a:p>
        </p:txBody>
      </p:sp>
      <p:sp>
        <p:nvSpPr>
          <p:cNvPr id="23" name="Espace réservé du texte 11">
            <a:extLst>
              <a:ext uri="{FF2B5EF4-FFF2-40B4-BE49-F238E27FC236}">
                <a16:creationId xmlns:a16="http://schemas.microsoft.com/office/drawing/2014/main" id="{F92FE875-AD3A-4972-9313-E3FD5EBD45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30488" y="1209965"/>
            <a:ext cx="1953880" cy="864097"/>
          </a:xfrm>
          <a:noFill/>
          <a:ln>
            <a:noFill/>
          </a:ln>
        </p:spPr>
        <p:txBody>
          <a:bodyPr numCol="1"/>
          <a:lstStyle/>
          <a:p>
            <a:pPr algn="l">
              <a:spcBef>
                <a:spcPts val="0"/>
              </a:spcBef>
              <a:buClr>
                <a:schemeClr val="tx2"/>
              </a:buClr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/</a:t>
            </a: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ation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pt-B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thon, Spark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pt-B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S, R, Scala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en-US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en-US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BA / Excel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en-US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doop</a:t>
            </a:r>
            <a:r>
              <a:rPr lang="en-US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Hive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en-US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iku</a:t>
            </a:r>
            <a:r>
              <a:rPr lang="en-US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ableau, </a:t>
            </a:r>
            <a:r>
              <a:rPr lang="en-US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bana</a:t>
            </a:r>
            <a:r>
              <a:rPr lang="en-US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CP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endParaRPr lang="en-US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Espace réservé du texte 11">
            <a:extLst>
              <a:ext uri="{FF2B5EF4-FFF2-40B4-BE49-F238E27FC236}">
                <a16:creationId xmlns:a16="http://schemas.microsoft.com/office/drawing/2014/main" id="{E81065A8-9EBB-47E3-8D01-545DA62C7047}"/>
              </a:ext>
            </a:extLst>
          </p:cNvPr>
          <p:cNvSpPr txBox="1">
            <a:spLocks/>
          </p:cNvSpPr>
          <p:nvPr/>
        </p:nvSpPr>
        <p:spPr>
          <a:xfrm>
            <a:off x="7870825" y="1209965"/>
            <a:ext cx="949647" cy="86409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numCol="1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r" defTabSz="685783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b="1" u="sng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400" b="1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449989" indent="-179996" algn="r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 3" panose="05040102010807070707" pitchFamily="18" charset="2"/>
              <a:buChar char=""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83186" indent="-179996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q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  <a:buClr>
                <a:schemeClr val="tx2"/>
              </a:buClr>
              <a:buSzPct val="150000"/>
            </a:pP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ues 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çais</a:t>
            </a: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lais</a:t>
            </a:r>
          </a:p>
          <a:p>
            <a:pPr algn="l" defTabSz="914400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 defTabSz="914400">
              <a:spcBef>
                <a:spcPct val="0"/>
              </a:spcBef>
              <a:buClr>
                <a:schemeClr val="tx2"/>
              </a:buClr>
              <a:buSzPct val="150000"/>
              <a:buFont typeface="Arial" panose="020B0604020202020204" pitchFamily="34" charset="0"/>
              <a:buBlip>
                <a:blip r:embed="rId8"/>
              </a:buBlip>
            </a:pPr>
            <a:endParaRPr lang="en-US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0"/>
              </a:spcBef>
              <a:buClr>
                <a:schemeClr val="tx2"/>
              </a:buClr>
            </a:pPr>
            <a:endParaRPr lang="en-US" sz="9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162"/>
          <p:cNvSpPr/>
          <p:nvPr/>
        </p:nvSpPr>
        <p:spPr>
          <a:xfrm>
            <a:off x="395536" y="145313"/>
            <a:ext cx="522784" cy="475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644" y="114000"/>
                </a:moveTo>
                <a:cubicBezTo>
                  <a:pt x="6988" y="103750"/>
                  <a:pt x="15288" y="99572"/>
                  <a:pt x="23283" y="96450"/>
                </a:cubicBezTo>
                <a:cubicBezTo>
                  <a:pt x="28644" y="94927"/>
                  <a:pt x="38244" y="88727"/>
                  <a:pt x="38244" y="75372"/>
                </a:cubicBezTo>
                <a:cubicBezTo>
                  <a:pt x="38244" y="63944"/>
                  <a:pt x="33961" y="58372"/>
                  <a:pt x="31655" y="55383"/>
                </a:cubicBezTo>
                <a:cubicBezTo>
                  <a:pt x="31366" y="55011"/>
                  <a:pt x="31105" y="54677"/>
                  <a:pt x="30900" y="54366"/>
                </a:cubicBezTo>
                <a:cubicBezTo>
                  <a:pt x="30833" y="54272"/>
                  <a:pt x="30766" y="54177"/>
                  <a:pt x="30700" y="54083"/>
                </a:cubicBezTo>
                <a:cubicBezTo>
                  <a:pt x="30505" y="53677"/>
                  <a:pt x="29427" y="50983"/>
                  <a:pt x="30850" y="44505"/>
                </a:cubicBezTo>
                <a:cubicBezTo>
                  <a:pt x="31133" y="43205"/>
                  <a:pt x="31016" y="41838"/>
                  <a:pt x="30516" y="40622"/>
                </a:cubicBezTo>
                <a:cubicBezTo>
                  <a:pt x="29161" y="37338"/>
                  <a:pt x="25572" y="28616"/>
                  <a:pt x="27972" y="22155"/>
                </a:cubicBezTo>
                <a:cubicBezTo>
                  <a:pt x="31216" y="13394"/>
                  <a:pt x="34111" y="11661"/>
                  <a:pt x="39361" y="9122"/>
                </a:cubicBezTo>
                <a:cubicBezTo>
                  <a:pt x="39622" y="8994"/>
                  <a:pt x="39872" y="8844"/>
                  <a:pt x="40111" y="8677"/>
                </a:cubicBezTo>
                <a:cubicBezTo>
                  <a:pt x="41433" y="7738"/>
                  <a:pt x="45738" y="6000"/>
                  <a:pt x="50161" y="6000"/>
                </a:cubicBezTo>
                <a:cubicBezTo>
                  <a:pt x="52594" y="6000"/>
                  <a:pt x="54666" y="6511"/>
                  <a:pt x="56316" y="7516"/>
                </a:cubicBezTo>
                <a:cubicBezTo>
                  <a:pt x="58283" y="8716"/>
                  <a:pt x="60138" y="10933"/>
                  <a:pt x="62822" y="17850"/>
                </a:cubicBezTo>
                <a:cubicBezTo>
                  <a:pt x="66616" y="27633"/>
                  <a:pt x="65666" y="35983"/>
                  <a:pt x="63038" y="39922"/>
                </a:cubicBezTo>
                <a:cubicBezTo>
                  <a:pt x="62083" y="41344"/>
                  <a:pt x="61755" y="43161"/>
                  <a:pt x="62133" y="44877"/>
                </a:cubicBezTo>
                <a:cubicBezTo>
                  <a:pt x="63455" y="50911"/>
                  <a:pt x="62483" y="53344"/>
                  <a:pt x="62277" y="53772"/>
                </a:cubicBezTo>
                <a:cubicBezTo>
                  <a:pt x="62116" y="53955"/>
                  <a:pt x="61961" y="54155"/>
                  <a:pt x="61827" y="54366"/>
                </a:cubicBezTo>
                <a:cubicBezTo>
                  <a:pt x="61616" y="54677"/>
                  <a:pt x="61355" y="55011"/>
                  <a:pt x="61066" y="55383"/>
                </a:cubicBezTo>
                <a:cubicBezTo>
                  <a:pt x="58766" y="58372"/>
                  <a:pt x="54477" y="63944"/>
                  <a:pt x="54477" y="75372"/>
                </a:cubicBezTo>
                <a:cubicBezTo>
                  <a:pt x="54477" y="88733"/>
                  <a:pt x="64083" y="94927"/>
                  <a:pt x="69444" y="96450"/>
                </a:cubicBezTo>
                <a:cubicBezTo>
                  <a:pt x="77361" y="99533"/>
                  <a:pt x="85733" y="103694"/>
                  <a:pt x="87083" y="114000"/>
                </a:cubicBezTo>
                <a:cubicBezTo>
                  <a:pt x="87083" y="114000"/>
                  <a:pt x="5644" y="114000"/>
                  <a:pt x="5644" y="114000"/>
                </a:cubicBezTo>
                <a:close/>
                <a:moveTo>
                  <a:pt x="71011" y="90700"/>
                </a:moveTo>
                <a:cubicBezTo>
                  <a:pt x="71011" y="90700"/>
                  <a:pt x="59933" y="87850"/>
                  <a:pt x="59933" y="75372"/>
                </a:cubicBezTo>
                <a:cubicBezTo>
                  <a:pt x="59933" y="64416"/>
                  <a:pt x="64483" y="60555"/>
                  <a:pt x="66238" y="57888"/>
                </a:cubicBezTo>
                <a:cubicBezTo>
                  <a:pt x="66238" y="57888"/>
                  <a:pt x="69850" y="54477"/>
                  <a:pt x="67433" y="43472"/>
                </a:cubicBezTo>
                <a:cubicBezTo>
                  <a:pt x="71461" y="37444"/>
                  <a:pt x="72216" y="26783"/>
                  <a:pt x="67838" y="15494"/>
                </a:cubicBezTo>
                <a:cubicBezTo>
                  <a:pt x="65088" y="8411"/>
                  <a:pt x="62661" y="4527"/>
                  <a:pt x="58961" y="2272"/>
                </a:cubicBezTo>
                <a:cubicBezTo>
                  <a:pt x="56244" y="616"/>
                  <a:pt x="53161" y="0"/>
                  <a:pt x="50161" y="0"/>
                </a:cubicBezTo>
                <a:cubicBezTo>
                  <a:pt x="44572" y="0"/>
                  <a:pt x="39277" y="2133"/>
                  <a:pt x="37166" y="3627"/>
                </a:cubicBezTo>
                <a:cubicBezTo>
                  <a:pt x="30977" y="6622"/>
                  <a:pt x="26822" y="9377"/>
                  <a:pt x="22922" y="19883"/>
                </a:cubicBezTo>
                <a:cubicBezTo>
                  <a:pt x="19755" y="28411"/>
                  <a:pt x="23561" y="38283"/>
                  <a:pt x="25544" y="43094"/>
                </a:cubicBezTo>
                <a:cubicBezTo>
                  <a:pt x="23127" y="54105"/>
                  <a:pt x="26483" y="57888"/>
                  <a:pt x="26483" y="57888"/>
                </a:cubicBezTo>
                <a:cubicBezTo>
                  <a:pt x="28238" y="60555"/>
                  <a:pt x="32794" y="64416"/>
                  <a:pt x="32794" y="75372"/>
                </a:cubicBezTo>
                <a:cubicBezTo>
                  <a:pt x="32794" y="87850"/>
                  <a:pt x="21716" y="90700"/>
                  <a:pt x="21716" y="90700"/>
                </a:cubicBezTo>
                <a:cubicBezTo>
                  <a:pt x="14677" y="93427"/>
                  <a:pt x="0" y="99005"/>
                  <a:pt x="0" y="117000"/>
                </a:cubicBezTo>
                <a:cubicBezTo>
                  <a:pt x="0" y="117000"/>
                  <a:pt x="0" y="120000"/>
                  <a:pt x="2727" y="120000"/>
                </a:cubicBezTo>
                <a:lnTo>
                  <a:pt x="90000" y="120000"/>
                </a:lnTo>
                <a:cubicBezTo>
                  <a:pt x="92727" y="120000"/>
                  <a:pt x="92727" y="117000"/>
                  <a:pt x="92727" y="117000"/>
                </a:cubicBezTo>
                <a:cubicBezTo>
                  <a:pt x="92727" y="99005"/>
                  <a:pt x="78044" y="93427"/>
                  <a:pt x="71011" y="90700"/>
                </a:cubicBezTo>
                <a:moveTo>
                  <a:pt x="100194" y="87633"/>
                </a:moveTo>
                <a:cubicBezTo>
                  <a:pt x="100194" y="87633"/>
                  <a:pt x="90094" y="85066"/>
                  <a:pt x="90094" y="73838"/>
                </a:cubicBezTo>
                <a:cubicBezTo>
                  <a:pt x="90094" y="63972"/>
                  <a:pt x="94927" y="60500"/>
                  <a:pt x="96533" y="58100"/>
                </a:cubicBezTo>
                <a:cubicBezTo>
                  <a:pt x="96533" y="58100"/>
                  <a:pt x="99822" y="55033"/>
                  <a:pt x="97622" y="45122"/>
                </a:cubicBezTo>
                <a:cubicBezTo>
                  <a:pt x="101288" y="39700"/>
                  <a:pt x="102150" y="30105"/>
                  <a:pt x="98161" y="19944"/>
                </a:cubicBezTo>
                <a:cubicBezTo>
                  <a:pt x="95655" y="13566"/>
                  <a:pt x="92588" y="10077"/>
                  <a:pt x="89216" y="8050"/>
                </a:cubicBezTo>
                <a:cubicBezTo>
                  <a:pt x="86733" y="6555"/>
                  <a:pt x="83927" y="6005"/>
                  <a:pt x="81188" y="6005"/>
                </a:cubicBezTo>
                <a:cubicBezTo>
                  <a:pt x="77111" y="6005"/>
                  <a:pt x="73233" y="7227"/>
                  <a:pt x="70850" y="8411"/>
                </a:cubicBezTo>
                <a:cubicBezTo>
                  <a:pt x="71544" y="9894"/>
                  <a:pt x="72205" y="11466"/>
                  <a:pt x="72861" y="13144"/>
                </a:cubicBezTo>
                <a:cubicBezTo>
                  <a:pt x="72950" y="13383"/>
                  <a:pt x="73016" y="13627"/>
                  <a:pt x="73105" y="13866"/>
                </a:cubicBezTo>
                <a:cubicBezTo>
                  <a:pt x="74644" y="13111"/>
                  <a:pt x="77744" y="12000"/>
                  <a:pt x="81188" y="12000"/>
                </a:cubicBezTo>
                <a:cubicBezTo>
                  <a:pt x="83338" y="12000"/>
                  <a:pt x="85155" y="12438"/>
                  <a:pt x="86600" y="13311"/>
                </a:cubicBezTo>
                <a:cubicBezTo>
                  <a:pt x="88294" y="14327"/>
                  <a:pt x="90816" y="16372"/>
                  <a:pt x="93150" y="22327"/>
                </a:cubicBezTo>
                <a:cubicBezTo>
                  <a:pt x="96477" y="30783"/>
                  <a:pt x="95594" y="38072"/>
                  <a:pt x="93244" y="41544"/>
                </a:cubicBezTo>
                <a:cubicBezTo>
                  <a:pt x="92277" y="42977"/>
                  <a:pt x="91938" y="44816"/>
                  <a:pt x="92322" y="46550"/>
                </a:cubicBezTo>
                <a:cubicBezTo>
                  <a:pt x="93427" y="51516"/>
                  <a:pt x="92716" y="53600"/>
                  <a:pt x="92533" y="54016"/>
                </a:cubicBezTo>
                <a:cubicBezTo>
                  <a:pt x="92394" y="54188"/>
                  <a:pt x="92261" y="54366"/>
                  <a:pt x="92133" y="54555"/>
                </a:cubicBezTo>
                <a:cubicBezTo>
                  <a:pt x="92027" y="54711"/>
                  <a:pt x="91650" y="55161"/>
                  <a:pt x="91372" y="55488"/>
                </a:cubicBezTo>
                <a:cubicBezTo>
                  <a:pt x="89016" y="58266"/>
                  <a:pt x="84644" y="63438"/>
                  <a:pt x="84644" y="73838"/>
                </a:cubicBezTo>
                <a:cubicBezTo>
                  <a:pt x="84644" y="86222"/>
                  <a:pt x="93616" y="91972"/>
                  <a:pt x="98650" y="93388"/>
                </a:cubicBezTo>
                <a:cubicBezTo>
                  <a:pt x="105833" y="96150"/>
                  <a:pt x="112838" y="99588"/>
                  <a:pt x="114277" y="108000"/>
                </a:cubicBezTo>
                <a:lnTo>
                  <a:pt x="97022" y="108000"/>
                </a:lnTo>
                <a:cubicBezTo>
                  <a:pt x="97516" y="109850"/>
                  <a:pt x="97861" y="111844"/>
                  <a:pt x="98027" y="114000"/>
                </a:cubicBezTo>
                <a:lnTo>
                  <a:pt x="117511" y="114000"/>
                </a:lnTo>
                <a:cubicBezTo>
                  <a:pt x="120000" y="114000"/>
                  <a:pt x="120000" y="111300"/>
                  <a:pt x="120000" y="111300"/>
                </a:cubicBezTo>
                <a:cubicBezTo>
                  <a:pt x="120000" y="95105"/>
                  <a:pt x="106616" y="90083"/>
                  <a:pt x="100194" y="87633"/>
                </a:cubicBezTo>
              </a:path>
            </a:pathLst>
          </a:custGeom>
          <a:solidFill>
            <a:schemeClr val="dk2"/>
          </a:solidFill>
          <a:ln>
            <a:noFill/>
          </a:ln>
        </p:spPr>
        <p:txBody>
          <a:bodyPr lIns="38075" tIns="38075" rIns="38075" bIns="380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 sz="2999">
              <a:solidFill>
                <a:schemeClr val="dk1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sp>
        <p:nvSpPr>
          <p:cNvPr id="17" name="Espace réservé du texte 11">
            <a:extLst>
              <a:ext uri="{FF2B5EF4-FFF2-40B4-BE49-F238E27FC236}">
                <a16:creationId xmlns:a16="http://schemas.microsoft.com/office/drawing/2014/main" id="{F92FE875-AD3A-4972-9313-E3FD5EBD45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0346" y="1209965"/>
            <a:ext cx="2245790" cy="1138915"/>
          </a:xfrm>
          <a:noFill/>
          <a:ln>
            <a:noFill/>
          </a:ln>
        </p:spPr>
        <p:txBody>
          <a:bodyPr numCol="1"/>
          <a:lstStyle/>
          <a:p>
            <a:pPr algn="l">
              <a:spcBef>
                <a:spcPts val="0"/>
              </a:spcBef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ions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ricks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ed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</a:t>
            </a:r>
            <a:b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che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rk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.x for Scala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en-US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</a:t>
            </a:r>
            <a:r>
              <a:rPr lang="en-US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Science and Big Data</a:t>
            </a: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ation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gplot2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-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ation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plotlib</a:t>
            </a:r>
            <a:endParaRPr lang="fr-FR" sz="900" b="0" dirty="0">
              <a:solidFill>
                <a:srgbClr val="0005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993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552D28B-FD46-4DEA-ABA1-CDD4D71A6D69}"/>
              </a:ext>
            </a:extLst>
          </p:cNvPr>
          <p:cNvSpPr/>
          <p:nvPr/>
        </p:nvSpPr>
        <p:spPr>
          <a:xfrm>
            <a:off x="0" y="-23813"/>
            <a:ext cx="6797758" cy="8108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ctr"/>
          <a:lstStyle/>
          <a:p>
            <a:pPr marL="1257300"/>
            <a:endParaRPr lang="fr-FR" sz="1100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4F98CC-BEEA-43AC-BFC7-EEFC86C4F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0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781" name="Picture 5" descr="D:\1000. BGE\VF\46203-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928" y="174485"/>
            <a:ext cx="1934552" cy="515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6263B77-17BA-434E-BA3D-A8AADEEDFDEA}"/>
              </a:ext>
            </a:extLst>
          </p:cNvPr>
          <p:cNvSpPr txBox="1"/>
          <p:nvPr/>
        </p:nvSpPr>
        <p:spPr>
          <a:xfrm>
            <a:off x="1078490" y="74444"/>
            <a:ext cx="57192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140075" algn="l"/>
              </a:tabLst>
            </a:pPr>
            <a:r>
              <a:rPr lang="fr-FR" sz="1200" dirty="0" err="1">
                <a:solidFill>
                  <a:schemeClr val="bg1"/>
                </a:solidFill>
              </a:rPr>
              <a:t>Fanirisoa</a:t>
            </a:r>
            <a:endParaRPr lang="fr-FR" sz="1200" dirty="0">
              <a:solidFill>
                <a:schemeClr val="bg1"/>
              </a:solidFill>
            </a:endParaRPr>
          </a:p>
          <a:p>
            <a:pPr>
              <a:tabLst>
                <a:tab pos="2509838" algn="l"/>
              </a:tabLst>
            </a:pPr>
            <a:r>
              <a:rPr lang="fr-FR" sz="1200" dirty="0">
                <a:solidFill>
                  <a:schemeClr val="bg1"/>
                </a:solidFill>
              </a:rPr>
              <a:t>Consultant Senior, </a:t>
            </a:r>
            <a:r>
              <a:rPr lang="fr-FR" sz="1200" dirty="0" err="1">
                <a:solidFill>
                  <a:schemeClr val="bg1"/>
                </a:solidFill>
              </a:rPr>
              <a:t>PhD</a:t>
            </a:r>
            <a:r>
              <a:rPr lang="fr-FR" sz="1200" dirty="0">
                <a:solidFill>
                  <a:schemeClr val="bg1"/>
                </a:solidFill>
              </a:rPr>
              <a:t>	</a:t>
            </a:r>
            <a:r>
              <a:rPr lang="fr-FR" sz="1200" b="1" dirty="0">
                <a:solidFill>
                  <a:schemeClr val="bg1"/>
                </a:solidFill>
              </a:rPr>
              <a:t>Risk management | Quantitatif</a:t>
            </a:r>
          </a:p>
          <a:p>
            <a:pPr>
              <a:tabLst>
                <a:tab pos="3140075" algn="l"/>
              </a:tabLst>
            </a:pPr>
            <a:r>
              <a:rPr lang="fr-FR" sz="1200" dirty="0">
                <a:solidFill>
                  <a:schemeClr val="bg1"/>
                </a:solidFill>
              </a:rPr>
              <a:t>6 ans d’expérience</a:t>
            </a:r>
          </a:p>
        </p:txBody>
      </p:sp>
      <p:sp>
        <p:nvSpPr>
          <p:cNvPr id="21" name="Espace réservé du texte 11">
            <a:extLst>
              <a:ext uri="{FF2B5EF4-FFF2-40B4-BE49-F238E27FC236}">
                <a16:creationId xmlns:a16="http://schemas.microsoft.com/office/drawing/2014/main" id="{1E96737E-5F58-4185-A7FB-24E022B012F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81994" y="1268760"/>
            <a:ext cx="8510486" cy="4032448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ctr" defTabSz="685783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r" defTabSz="685783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b="1" u="sng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None/>
              <a:defRPr sz="1400" b="1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449989" indent="-179996" algn="r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 3" panose="05040102010807070707" pitchFamily="18" charset="2"/>
              <a:buChar char=""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583186" indent="-179996" algn="l" defTabSz="685783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q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te Quantitatif</a:t>
            </a:r>
          </a:p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b="0" dirty="0" err="1">
                <a:latin typeface="Arial" panose="020B0604020202020204" pitchFamily="34" charset="0"/>
                <a:cs typeface="Arial" panose="020B0604020202020204" pitchFamily="34" charset="0"/>
              </a:rPr>
              <a:t>LabEX</a:t>
            </a:r>
            <a:r>
              <a:rPr lang="fr-FR" sz="900" b="0" dirty="0">
                <a:latin typeface="Arial" panose="020B0604020202020204" pitchFamily="34" charset="0"/>
                <a:cs typeface="Arial" panose="020B0604020202020204" pitchFamily="34" charset="0"/>
              </a:rPr>
              <a:t> REFI: Laboratoire d’excellence en régulation financière 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r>
              <a:rPr lang="fr-FR" sz="900" b="0" u="sng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fr-FR" sz="900" b="0" u="sng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e des impacts de risque systémiques en utilisant les </a:t>
            </a:r>
            <a:r>
              <a:rPr lang="fr-FR" sz="9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ledge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aphs, couplés à des algorithme de machine </a:t>
            </a:r>
            <a:r>
              <a:rPr lang="fr-FR" sz="9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de </a:t>
            </a:r>
            <a:r>
              <a:rPr lang="fr-FR" sz="9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endParaRPr lang="fr-FR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sation des algorithmes  de 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</a:t>
            </a:r>
            <a:r>
              <a:rPr lang="fr-FR" sz="9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fr-FR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simuler les prix et les tendances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Asset Management)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èles de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 dérivés, de mesure des risques et de systèmes de couverture, 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éation et optimisation des stratégies de portefeuilles d'investissement automatisées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élisation de la sévérité des risques opérationnels en utilisant les mesures de risque spectrale, de distorsion et l'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ed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fall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ion de la </a:t>
            </a:r>
            <a:r>
              <a:rPr lang="fr-FR" sz="900" b="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utilisation la théorie des distributions des  valeurs extrêmes 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isation d’actifs financiers en utilisant des modèles à volatilité  stochastiques.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gé d’études actuarielles / Assurance Vie</a:t>
            </a:r>
          </a:p>
          <a:p>
            <a:pPr algn="l">
              <a:spcBef>
                <a:spcPct val="0"/>
              </a:spcBef>
              <a:spcAft>
                <a:spcPts val="200"/>
              </a:spcAft>
              <a:buClr>
                <a:schemeClr val="tx2"/>
              </a:buClr>
              <a:buSzPct val="150000"/>
            </a:pPr>
            <a:r>
              <a:rPr lang="fr-FR" sz="900" b="0" dirty="0">
                <a:latin typeface="Arial" panose="020B0604020202020204" pitchFamily="34" charset="0"/>
                <a:cs typeface="Arial" panose="020B0604020202020204" pitchFamily="34" charset="0"/>
              </a:rPr>
              <a:t>Assurance Réassurance </a:t>
            </a:r>
            <a:r>
              <a:rPr lang="fr-FR" sz="900" b="0" dirty="0" err="1">
                <a:latin typeface="Arial" panose="020B0604020202020204" pitchFamily="34" charset="0"/>
                <a:cs typeface="Arial" panose="020B0604020202020204" pitchFamily="34" charset="0"/>
              </a:rPr>
              <a:t>Omnibrance</a:t>
            </a:r>
            <a:r>
              <a:rPr lang="fr-FR" sz="900" b="0" dirty="0">
                <a:latin typeface="Arial" panose="020B0604020202020204" pitchFamily="34" charset="0"/>
                <a:cs typeface="Arial" panose="020B0604020202020204" pitchFamily="34" charset="0"/>
              </a:rPr>
              <a:t> (ARO)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riat, 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 actif-passif</a:t>
            </a:r>
          </a:p>
        </p:txBody>
      </p:sp>
      <p:sp>
        <p:nvSpPr>
          <p:cNvPr id="16" name="Shape 162"/>
          <p:cNvSpPr/>
          <p:nvPr/>
        </p:nvSpPr>
        <p:spPr>
          <a:xfrm>
            <a:off x="395536" y="145313"/>
            <a:ext cx="522784" cy="475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5644" y="114000"/>
                </a:moveTo>
                <a:cubicBezTo>
                  <a:pt x="6988" y="103750"/>
                  <a:pt x="15288" y="99572"/>
                  <a:pt x="23283" y="96450"/>
                </a:cubicBezTo>
                <a:cubicBezTo>
                  <a:pt x="28644" y="94927"/>
                  <a:pt x="38244" y="88727"/>
                  <a:pt x="38244" y="75372"/>
                </a:cubicBezTo>
                <a:cubicBezTo>
                  <a:pt x="38244" y="63944"/>
                  <a:pt x="33961" y="58372"/>
                  <a:pt x="31655" y="55383"/>
                </a:cubicBezTo>
                <a:cubicBezTo>
                  <a:pt x="31366" y="55011"/>
                  <a:pt x="31105" y="54677"/>
                  <a:pt x="30900" y="54366"/>
                </a:cubicBezTo>
                <a:cubicBezTo>
                  <a:pt x="30833" y="54272"/>
                  <a:pt x="30766" y="54177"/>
                  <a:pt x="30700" y="54083"/>
                </a:cubicBezTo>
                <a:cubicBezTo>
                  <a:pt x="30505" y="53677"/>
                  <a:pt x="29427" y="50983"/>
                  <a:pt x="30850" y="44505"/>
                </a:cubicBezTo>
                <a:cubicBezTo>
                  <a:pt x="31133" y="43205"/>
                  <a:pt x="31016" y="41838"/>
                  <a:pt x="30516" y="40622"/>
                </a:cubicBezTo>
                <a:cubicBezTo>
                  <a:pt x="29161" y="37338"/>
                  <a:pt x="25572" y="28616"/>
                  <a:pt x="27972" y="22155"/>
                </a:cubicBezTo>
                <a:cubicBezTo>
                  <a:pt x="31216" y="13394"/>
                  <a:pt x="34111" y="11661"/>
                  <a:pt x="39361" y="9122"/>
                </a:cubicBezTo>
                <a:cubicBezTo>
                  <a:pt x="39622" y="8994"/>
                  <a:pt x="39872" y="8844"/>
                  <a:pt x="40111" y="8677"/>
                </a:cubicBezTo>
                <a:cubicBezTo>
                  <a:pt x="41433" y="7738"/>
                  <a:pt x="45738" y="6000"/>
                  <a:pt x="50161" y="6000"/>
                </a:cubicBezTo>
                <a:cubicBezTo>
                  <a:pt x="52594" y="6000"/>
                  <a:pt x="54666" y="6511"/>
                  <a:pt x="56316" y="7516"/>
                </a:cubicBezTo>
                <a:cubicBezTo>
                  <a:pt x="58283" y="8716"/>
                  <a:pt x="60138" y="10933"/>
                  <a:pt x="62822" y="17850"/>
                </a:cubicBezTo>
                <a:cubicBezTo>
                  <a:pt x="66616" y="27633"/>
                  <a:pt x="65666" y="35983"/>
                  <a:pt x="63038" y="39922"/>
                </a:cubicBezTo>
                <a:cubicBezTo>
                  <a:pt x="62083" y="41344"/>
                  <a:pt x="61755" y="43161"/>
                  <a:pt x="62133" y="44877"/>
                </a:cubicBezTo>
                <a:cubicBezTo>
                  <a:pt x="63455" y="50911"/>
                  <a:pt x="62483" y="53344"/>
                  <a:pt x="62277" y="53772"/>
                </a:cubicBezTo>
                <a:cubicBezTo>
                  <a:pt x="62116" y="53955"/>
                  <a:pt x="61961" y="54155"/>
                  <a:pt x="61827" y="54366"/>
                </a:cubicBezTo>
                <a:cubicBezTo>
                  <a:pt x="61616" y="54677"/>
                  <a:pt x="61355" y="55011"/>
                  <a:pt x="61066" y="55383"/>
                </a:cubicBezTo>
                <a:cubicBezTo>
                  <a:pt x="58766" y="58372"/>
                  <a:pt x="54477" y="63944"/>
                  <a:pt x="54477" y="75372"/>
                </a:cubicBezTo>
                <a:cubicBezTo>
                  <a:pt x="54477" y="88733"/>
                  <a:pt x="64083" y="94927"/>
                  <a:pt x="69444" y="96450"/>
                </a:cubicBezTo>
                <a:cubicBezTo>
                  <a:pt x="77361" y="99533"/>
                  <a:pt x="85733" y="103694"/>
                  <a:pt x="87083" y="114000"/>
                </a:cubicBezTo>
                <a:cubicBezTo>
                  <a:pt x="87083" y="114000"/>
                  <a:pt x="5644" y="114000"/>
                  <a:pt x="5644" y="114000"/>
                </a:cubicBezTo>
                <a:close/>
                <a:moveTo>
                  <a:pt x="71011" y="90700"/>
                </a:moveTo>
                <a:cubicBezTo>
                  <a:pt x="71011" y="90700"/>
                  <a:pt x="59933" y="87850"/>
                  <a:pt x="59933" y="75372"/>
                </a:cubicBezTo>
                <a:cubicBezTo>
                  <a:pt x="59933" y="64416"/>
                  <a:pt x="64483" y="60555"/>
                  <a:pt x="66238" y="57888"/>
                </a:cubicBezTo>
                <a:cubicBezTo>
                  <a:pt x="66238" y="57888"/>
                  <a:pt x="69850" y="54477"/>
                  <a:pt x="67433" y="43472"/>
                </a:cubicBezTo>
                <a:cubicBezTo>
                  <a:pt x="71461" y="37444"/>
                  <a:pt x="72216" y="26783"/>
                  <a:pt x="67838" y="15494"/>
                </a:cubicBezTo>
                <a:cubicBezTo>
                  <a:pt x="65088" y="8411"/>
                  <a:pt x="62661" y="4527"/>
                  <a:pt x="58961" y="2272"/>
                </a:cubicBezTo>
                <a:cubicBezTo>
                  <a:pt x="56244" y="616"/>
                  <a:pt x="53161" y="0"/>
                  <a:pt x="50161" y="0"/>
                </a:cubicBezTo>
                <a:cubicBezTo>
                  <a:pt x="44572" y="0"/>
                  <a:pt x="39277" y="2133"/>
                  <a:pt x="37166" y="3627"/>
                </a:cubicBezTo>
                <a:cubicBezTo>
                  <a:pt x="30977" y="6622"/>
                  <a:pt x="26822" y="9377"/>
                  <a:pt x="22922" y="19883"/>
                </a:cubicBezTo>
                <a:cubicBezTo>
                  <a:pt x="19755" y="28411"/>
                  <a:pt x="23561" y="38283"/>
                  <a:pt x="25544" y="43094"/>
                </a:cubicBezTo>
                <a:cubicBezTo>
                  <a:pt x="23127" y="54105"/>
                  <a:pt x="26483" y="57888"/>
                  <a:pt x="26483" y="57888"/>
                </a:cubicBezTo>
                <a:cubicBezTo>
                  <a:pt x="28238" y="60555"/>
                  <a:pt x="32794" y="64416"/>
                  <a:pt x="32794" y="75372"/>
                </a:cubicBezTo>
                <a:cubicBezTo>
                  <a:pt x="32794" y="87850"/>
                  <a:pt x="21716" y="90700"/>
                  <a:pt x="21716" y="90700"/>
                </a:cubicBezTo>
                <a:cubicBezTo>
                  <a:pt x="14677" y="93427"/>
                  <a:pt x="0" y="99005"/>
                  <a:pt x="0" y="117000"/>
                </a:cubicBezTo>
                <a:cubicBezTo>
                  <a:pt x="0" y="117000"/>
                  <a:pt x="0" y="120000"/>
                  <a:pt x="2727" y="120000"/>
                </a:cubicBezTo>
                <a:lnTo>
                  <a:pt x="90000" y="120000"/>
                </a:lnTo>
                <a:cubicBezTo>
                  <a:pt x="92727" y="120000"/>
                  <a:pt x="92727" y="117000"/>
                  <a:pt x="92727" y="117000"/>
                </a:cubicBezTo>
                <a:cubicBezTo>
                  <a:pt x="92727" y="99005"/>
                  <a:pt x="78044" y="93427"/>
                  <a:pt x="71011" y="90700"/>
                </a:cubicBezTo>
                <a:moveTo>
                  <a:pt x="100194" y="87633"/>
                </a:moveTo>
                <a:cubicBezTo>
                  <a:pt x="100194" y="87633"/>
                  <a:pt x="90094" y="85066"/>
                  <a:pt x="90094" y="73838"/>
                </a:cubicBezTo>
                <a:cubicBezTo>
                  <a:pt x="90094" y="63972"/>
                  <a:pt x="94927" y="60500"/>
                  <a:pt x="96533" y="58100"/>
                </a:cubicBezTo>
                <a:cubicBezTo>
                  <a:pt x="96533" y="58100"/>
                  <a:pt x="99822" y="55033"/>
                  <a:pt x="97622" y="45122"/>
                </a:cubicBezTo>
                <a:cubicBezTo>
                  <a:pt x="101288" y="39700"/>
                  <a:pt x="102150" y="30105"/>
                  <a:pt x="98161" y="19944"/>
                </a:cubicBezTo>
                <a:cubicBezTo>
                  <a:pt x="95655" y="13566"/>
                  <a:pt x="92588" y="10077"/>
                  <a:pt x="89216" y="8050"/>
                </a:cubicBezTo>
                <a:cubicBezTo>
                  <a:pt x="86733" y="6555"/>
                  <a:pt x="83927" y="6005"/>
                  <a:pt x="81188" y="6005"/>
                </a:cubicBezTo>
                <a:cubicBezTo>
                  <a:pt x="77111" y="6005"/>
                  <a:pt x="73233" y="7227"/>
                  <a:pt x="70850" y="8411"/>
                </a:cubicBezTo>
                <a:cubicBezTo>
                  <a:pt x="71544" y="9894"/>
                  <a:pt x="72205" y="11466"/>
                  <a:pt x="72861" y="13144"/>
                </a:cubicBezTo>
                <a:cubicBezTo>
                  <a:pt x="72950" y="13383"/>
                  <a:pt x="73016" y="13627"/>
                  <a:pt x="73105" y="13866"/>
                </a:cubicBezTo>
                <a:cubicBezTo>
                  <a:pt x="74644" y="13111"/>
                  <a:pt x="77744" y="12000"/>
                  <a:pt x="81188" y="12000"/>
                </a:cubicBezTo>
                <a:cubicBezTo>
                  <a:pt x="83338" y="12000"/>
                  <a:pt x="85155" y="12438"/>
                  <a:pt x="86600" y="13311"/>
                </a:cubicBezTo>
                <a:cubicBezTo>
                  <a:pt x="88294" y="14327"/>
                  <a:pt x="90816" y="16372"/>
                  <a:pt x="93150" y="22327"/>
                </a:cubicBezTo>
                <a:cubicBezTo>
                  <a:pt x="96477" y="30783"/>
                  <a:pt x="95594" y="38072"/>
                  <a:pt x="93244" y="41544"/>
                </a:cubicBezTo>
                <a:cubicBezTo>
                  <a:pt x="92277" y="42977"/>
                  <a:pt x="91938" y="44816"/>
                  <a:pt x="92322" y="46550"/>
                </a:cubicBezTo>
                <a:cubicBezTo>
                  <a:pt x="93427" y="51516"/>
                  <a:pt x="92716" y="53600"/>
                  <a:pt x="92533" y="54016"/>
                </a:cubicBezTo>
                <a:cubicBezTo>
                  <a:pt x="92394" y="54188"/>
                  <a:pt x="92261" y="54366"/>
                  <a:pt x="92133" y="54555"/>
                </a:cubicBezTo>
                <a:cubicBezTo>
                  <a:pt x="92027" y="54711"/>
                  <a:pt x="91650" y="55161"/>
                  <a:pt x="91372" y="55488"/>
                </a:cubicBezTo>
                <a:cubicBezTo>
                  <a:pt x="89016" y="58266"/>
                  <a:pt x="84644" y="63438"/>
                  <a:pt x="84644" y="73838"/>
                </a:cubicBezTo>
                <a:cubicBezTo>
                  <a:pt x="84644" y="86222"/>
                  <a:pt x="93616" y="91972"/>
                  <a:pt x="98650" y="93388"/>
                </a:cubicBezTo>
                <a:cubicBezTo>
                  <a:pt x="105833" y="96150"/>
                  <a:pt x="112838" y="99588"/>
                  <a:pt x="114277" y="108000"/>
                </a:cubicBezTo>
                <a:lnTo>
                  <a:pt x="97022" y="108000"/>
                </a:lnTo>
                <a:cubicBezTo>
                  <a:pt x="97516" y="109850"/>
                  <a:pt x="97861" y="111844"/>
                  <a:pt x="98027" y="114000"/>
                </a:cubicBezTo>
                <a:lnTo>
                  <a:pt x="117511" y="114000"/>
                </a:lnTo>
                <a:cubicBezTo>
                  <a:pt x="120000" y="114000"/>
                  <a:pt x="120000" y="111300"/>
                  <a:pt x="120000" y="111300"/>
                </a:cubicBezTo>
                <a:cubicBezTo>
                  <a:pt x="120000" y="95105"/>
                  <a:pt x="106616" y="90083"/>
                  <a:pt x="100194" y="87633"/>
                </a:cubicBezTo>
              </a:path>
            </a:pathLst>
          </a:custGeom>
          <a:solidFill>
            <a:schemeClr val="dk2"/>
          </a:solidFill>
          <a:ln>
            <a:noFill/>
          </a:ln>
        </p:spPr>
        <p:txBody>
          <a:bodyPr lIns="38075" tIns="38075" rIns="38075" bIns="380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 sz="2999">
              <a:solidFill>
                <a:schemeClr val="dk1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9512" y="923306"/>
            <a:ext cx="845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PROJETS</a:t>
            </a:r>
          </a:p>
        </p:txBody>
      </p:sp>
      <p:cxnSp>
        <p:nvCxnSpPr>
          <p:cNvPr id="18" name="Straight Connector 17"/>
          <p:cNvCxnSpPr>
            <a:stCxn id="17" idx="3"/>
          </p:cNvCxnSpPr>
          <p:nvPr/>
        </p:nvCxnSpPr>
        <p:spPr>
          <a:xfrm>
            <a:off x="1024615" y="1054111"/>
            <a:ext cx="78703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79512" y="4077072"/>
            <a:ext cx="12961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PUBLICATIONS</a:t>
            </a:r>
          </a:p>
        </p:txBody>
      </p:sp>
      <p:cxnSp>
        <p:nvCxnSpPr>
          <p:cNvPr id="27" name="Straight Connector 26"/>
          <p:cNvCxnSpPr>
            <a:cxnSpLocks/>
            <a:stCxn id="26" idx="3"/>
          </p:cNvCxnSpPr>
          <p:nvPr/>
        </p:nvCxnSpPr>
        <p:spPr>
          <a:xfrm>
            <a:off x="1475656" y="4207877"/>
            <a:ext cx="732061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space réservé du texte 11">
            <a:extLst>
              <a:ext uri="{FF2B5EF4-FFF2-40B4-BE49-F238E27FC236}">
                <a16:creationId xmlns:a16="http://schemas.microsoft.com/office/drawing/2014/main" id="{F92FE875-AD3A-4972-9313-E3FD5EBD45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1993" y="4338682"/>
            <a:ext cx="8414273" cy="1080120"/>
          </a:xfrm>
          <a:noFill/>
          <a:ln>
            <a:noFill/>
          </a:ln>
        </p:spPr>
        <p:txBody>
          <a:bodyPr numCol="1"/>
          <a:lstStyle/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G-GARCH model and an U-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ped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nel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rgbClr val="0005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riminating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RCH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option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y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ir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y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e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urate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X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l">
              <a:spcBef>
                <a:spcPct val="0"/>
              </a:spcBef>
              <a:buClr>
                <a:schemeClr val="tx2"/>
              </a:buClr>
              <a:buSzPct val="150000"/>
            </a:pPr>
            <a:endParaRPr lang="fr-FR" sz="900" b="0" dirty="0">
              <a:solidFill>
                <a:srgbClr val="0005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w two-step estimation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non-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ussian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RCH </a:t>
            </a:r>
            <a:r>
              <a:rPr lang="fr-FR" sz="900" b="0" dirty="0" err="1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</a:t>
            </a:r>
            <a:r>
              <a:rPr lang="fr-FR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endParaRPr lang="fr-FR" sz="900" b="0" dirty="0">
              <a:solidFill>
                <a:srgbClr val="0005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ct val="0"/>
              </a:spcBef>
              <a:buClr>
                <a:schemeClr val="tx2"/>
              </a:buClr>
              <a:buSzPct val="150000"/>
              <a:buBlip>
                <a:blip r:embed="rId8"/>
              </a:buBlip>
            </a:pPr>
            <a:r>
              <a:rPr lang="en-US" sz="900" b="0" dirty="0">
                <a:solidFill>
                  <a:srgbClr val="0005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orted elliptical bimodal distribution using an inverse S-shaped distortion function.</a:t>
            </a:r>
            <a:endParaRPr lang="fr-FR" sz="900" b="0" dirty="0">
              <a:solidFill>
                <a:srgbClr val="0005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661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VIOUSNAME" val="C:\Users\Remy Estran\Downloads\DoNotBackup\CV - Bilel OUALI - Advanced CMA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heme/theme1.xml><?xml version="1.0" encoding="utf-8"?>
<a:theme xmlns:a="http://schemas.openxmlformats.org/drawingml/2006/main" name="Default Theme">
  <a:themeElements>
    <a:clrScheme name="Advanced-CMA">
      <a:dk1>
        <a:srgbClr val="181831"/>
      </a:dk1>
      <a:lt1>
        <a:sysClr val="window" lastClr="FFFFFF"/>
      </a:lt1>
      <a:dk2>
        <a:srgbClr val="B17E49"/>
      </a:dk2>
      <a:lt2>
        <a:srgbClr val="707372"/>
      </a:lt2>
      <a:accent1>
        <a:srgbClr val="235384"/>
      </a:accent1>
      <a:accent2>
        <a:srgbClr val="763A8E"/>
      </a:accent2>
      <a:accent3>
        <a:srgbClr val="B17E84"/>
      </a:accent3>
      <a:accent4>
        <a:srgbClr val="B11749"/>
      </a:accent4>
      <a:accent5>
        <a:srgbClr val="238484"/>
      </a:accent5>
      <a:accent6>
        <a:srgbClr val="2384B1"/>
      </a:accent6>
      <a:hlink>
        <a:srgbClr val="000000"/>
      </a:hlink>
      <a:folHlink>
        <a:srgbClr val="000000"/>
      </a:folHlink>
    </a:clrScheme>
    <a:fontScheme name="Advanced-CMA">
      <a:majorFont>
        <a:latin typeface="Athene"/>
        <a:ea typeface=""/>
        <a:cs typeface=""/>
      </a:majorFont>
      <a:minorFont>
        <a:latin typeface="AvenirNext LT Pro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Theme">
  <a:themeElements>
    <a:clrScheme name="Advanced-CMA">
      <a:dk1>
        <a:srgbClr val="181831"/>
      </a:dk1>
      <a:lt1>
        <a:sysClr val="window" lastClr="FFFFFF"/>
      </a:lt1>
      <a:dk2>
        <a:srgbClr val="B17E49"/>
      </a:dk2>
      <a:lt2>
        <a:srgbClr val="707372"/>
      </a:lt2>
      <a:accent1>
        <a:srgbClr val="235384"/>
      </a:accent1>
      <a:accent2>
        <a:srgbClr val="763A8E"/>
      </a:accent2>
      <a:accent3>
        <a:srgbClr val="B17E84"/>
      </a:accent3>
      <a:accent4>
        <a:srgbClr val="B11749"/>
      </a:accent4>
      <a:accent5>
        <a:srgbClr val="238484"/>
      </a:accent5>
      <a:accent6>
        <a:srgbClr val="2384B1"/>
      </a:accent6>
      <a:hlink>
        <a:srgbClr val="000000"/>
      </a:hlink>
      <a:folHlink>
        <a:srgbClr val="000000"/>
      </a:folHlink>
    </a:clrScheme>
    <a:fontScheme name="Advanced-CMA">
      <a:majorFont>
        <a:latin typeface="Athene"/>
        <a:ea typeface=""/>
        <a:cs typeface=""/>
      </a:majorFont>
      <a:minorFont>
        <a:latin typeface="AvenirNext LT Pro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191</TotalTime>
  <Words>562</Words>
  <Application>Microsoft Office PowerPoint</Application>
  <PresentationFormat>Affichage à l'écran (4:3)</PresentationFormat>
  <Paragraphs>82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2" baseType="lpstr">
      <vt:lpstr>Arial</vt:lpstr>
      <vt:lpstr>Athene</vt:lpstr>
      <vt:lpstr>AvenirNext LT Pro Regular</vt:lpstr>
      <vt:lpstr>Calibri</vt:lpstr>
      <vt:lpstr>Courier New</vt:lpstr>
      <vt:lpstr>Wingdings</vt:lpstr>
      <vt:lpstr>Wingdings 3</vt:lpstr>
      <vt:lpstr>Default Theme</vt:lpstr>
      <vt:lpstr>1_Default Theme</vt:lpstr>
      <vt:lpstr>think-cell Slide</vt:lpstr>
      <vt:lpstr>Présentation PowerPoint</vt:lpstr>
      <vt:lpstr>Présentation PowerPoint</vt:lpstr>
    </vt:vector>
  </TitlesOfParts>
  <Company>Natix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dou Guillaume (EXT)</dc:creator>
  <cp:lastModifiedBy>Victor-manuel DE FABRITUS</cp:lastModifiedBy>
  <cp:revision>203</cp:revision>
  <dcterms:created xsi:type="dcterms:W3CDTF">2018-07-04T11:58:49Z</dcterms:created>
  <dcterms:modified xsi:type="dcterms:W3CDTF">2020-08-26T11:0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8a19f0c-bea1-442e-a475-ed109d9ec508_Enabled">
    <vt:lpwstr>True</vt:lpwstr>
  </property>
  <property fmtid="{D5CDD505-2E9C-101B-9397-08002B2CF9AE}" pid="3" name="MSIP_Label_48a19f0c-bea1-442e-a475-ed109d9ec508_SiteId">
    <vt:lpwstr>d5bb6d35-8a82-4329-b49a-5030bd6497ab</vt:lpwstr>
  </property>
  <property fmtid="{D5CDD505-2E9C-101B-9397-08002B2CF9AE}" pid="4" name="MSIP_Label_48a19f0c-bea1-442e-a475-ed109d9ec508_Owner">
    <vt:lpwstr>Jeanphilippe.GUICHAR_EXT@bpce.fr</vt:lpwstr>
  </property>
  <property fmtid="{D5CDD505-2E9C-101B-9397-08002B2CF9AE}" pid="5" name="MSIP_Label_48a19f0c-bea1-442e-a475-ed109d9ec508_SetDate">
    <vt:lpwstr>2020-02-20T08:11:12.1086700Z</vt:lpwstr>
  </property>
  <property fmtid="{D5CDD505-2E9C-101B-9397-08002B2CF9AE}" pid="6" name="MSIP_Label_48a19f0c-bea1-442e-a475-ed109d9ec508_Name">
    <vt:lpwstr>C2 - Interne BPCE</vt:lpwstr>
  </property>
  <property fmtid="{D5CDD505-2E9C-101B-9397-08002B2CF9AE}" pid="7" name="MSIP_Label_48a19f0c-bea1-442e-a475-ed109d9ec508_Application">
    <vt:lpwstr>Microsoft Azure Information Protection</vt:lpwstr>
  </property>
  <property fmtid="{D5CDD505-2E9C-101B-9397-08002B2CF9AE}" pid="8" name="MSIP_Label_48a19f0c-bea1-442e-a475-ed109d9ec508_Extended_MSFT_Method">
    <vt:lpwstr>Automatic</vt:lpwstr>
  </property>
  <property fmtid="{D5CDD505-2E9C-101B-9397-08002B2CF9AE}" pid="9" name="Sensitivity">
    <vt:lpwstr>C2 - Interne BPCE</vt:lpwstr>
  </property>
</Properties>
</file>